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70" r:id="rId4"/>
    <p:sldMasterId id="2147484115" r:id="rId5"/>
  </p:sldMasterIdLst>
  <p:notesMasterIdLst>
    <p:notesMasterId r:id="rId20"/>
  </p:notesMasterIdLst>
  <p:handoutMasterIdLst>
    <p:handoutMasterId r:id="rId21"/>
  </p:handoutMasterIdLst>
  <p:sldIdLst>
    <p:sldId id="763" r:id="rId6"/>
    <p:sldId id="791" r:id="rId7"/>
    <p:sldId id="792" r:id="rId8"/>
    <p:sldId id="787" r:id="rId9"/>
    <p:sldId id="793" r:id="rId10"/>
    <p:sldId id="786" r:id="rId11"/>
    <p:sldId id="794" r:id="rId12"/>
    <p:sldId id="790" r:id="rId13"/>
    <p:sldId id="798" r:id="rId14"/>
    <p:sldId id="785" r:id="rId15"/>
    <p:sldId id="795" r:id="rId16"/>
    <p:sldId id="799" r:id="rId17"/>
    <p:sldId id="783" r:id="rId18"/>
    <p:sldId id="801" r:id="rId19"/>
  </p:sldIdLst>
  <p:sldSz cx="12192000" cy="6858000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C8E5AB8-1E4E-B447-A0FF-F0F8F8461291}">
          <p14:sldIdLst>
            <p14:sldId id="763"/>
            <p14:sldId id="791"/>
            <p14:sldId id="792"/>
            <p14:sldId id="787"/>
            <p14:sldId id="793"/>
            <p14:sldId id="786"/>
            <p14:sldId id="794"/>
            <p14:sldId id="790"/>
            <p14:sldId id="798"/>
            <p14:sldId id="785"/>
            <p14:sldId id="795"/>
            <p14:sldId id="799"/>
            <p14:sldId id="783"/>
            <p14:sldId id="801"/>
          </p14:sldIdLst>
        </p14:section>
        <p14:section name="Типовые слайды" id="{25F84F50-1FA3-674E-9681-77F9C9E8BFB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Орлов Никита Сергеевич" initials="ОНС" lastIdx="3" clrIdx="0">
    <p:extLst/>
  </p:cmAuthor>
  <p:cmAuthor id="2" name="Кочетков Олег Олегович" initials="КОО" lastIdx="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0093B2"/>
    <a:srgbClr val="EE1C25"/>
    <a:srgbClr val="E30611"/>
    <a:srgbClr val="4E6470"/>
    <a:srgbClr val="FFFFFF"/>
    <a:srgbClr val="D75C5C"/>
    <a:srgbClr val="20A1BC"/>
    <a:srgbClr val="D12D25"/>
    <a:srgbClr val="D02D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Светлый стиль 1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99" autoAdjust="0"/>
    <p:restoredTop sz="95383" autoAdjust="0"/>
  </p:normalViewPr>
  <p:slideViewPr>
    <p:cSldViewPr>
      <p:cViewPr varScale="1">
        <p:scale>
          <a:sx n="91" d="100"/>
          <a:sy n="91" d="100"/>
        </p:scale>
        <p:origin x="342" y="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5" d="100"/>
        <a:sy n="105" d="100"/>
      </p:scale>
      <p:origin x="0" y="0"/>
    </p:cViewPr>
  </p:sorterViewPr>
  <p:notesViewPr>
    <p:cSldViewPr showGuides="1">
      <p:cViewPr varScale="1">
        <p:scale>
          <a:sx n="109" d="100"/>
          <a:sy n="109" d="100"/>
        </p:scale>
        <p:origin x="4400" y="1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474376582927947"/>
          <c:y val="0.15137110949138793"/>
          <c:w val="0.61636929932641571"/>
          <c:h val="0.61349059506208714"/>
        </c:manualLayout>
      </c:layout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805-4A9D-AD54-8011B950D80A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805-4A9D-AD54-8011B950D80A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8805-4A9D-AD54-8011B950D80A}"/>
              </c:ext>
            </c:extLst>
          </c:dPt>
          <c:dLbls>
            <c:dLbl>
              <c:idx val="0"/>
              <c:layout>
                <c:manualLayout>
                  <c:x val="0.17878672771400156"/>
                  <c:y val="4.044807966965943E-2"/>
                </c:manualLayout>
              </c:layout>
              <c:tx>
                <c:rich>
                  <a:bodyPr/>
                  <a:lstStyle/>
                  <a:p>
                    <a:pPr>
                      <a:defRPr sz="1800" b="1"/>
                    </a:pPr>
                    <a:r>
                      <a:rPr lang="en-US" sz="1800" dirty="0" smtClean="0"/>
                      <a:t>55%</a:t>
                    </a:r>
                    <a:endParaRPr lang="en-US" sz="180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05-4A9D-AD54-8011B950D80A}"/>
                </c:ext>
              </c:extLst>
            </c:dLbl>
            <c:dLbl>
              <c:idx val="1"/>
              <c:layout>
                <c:manualLayout>
                  <c:x val="-0.1351063829787234"/>
                  <c:y val="-7.407407407407407E-2"/>
                </c:manualLayout>
              </c:layout>
              <c:tx>
                <c:rich>
                  <a:bodyPr/>
                  <a:lstStyle/>
                  <a:p>
                    <a:pPr>
                      <a:defRPr sz="1600" b="1"/>
                    </a:pPr>
                    <a:r>
                      <a:rPr lang="en-US" sz="1600" dirty="0" smtClean="0"/>
                      <a:t>43%</a:t>
                    </a:r>
                    <a:endParaRPr lang="en-US" sz="160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05-4A9D-AD54-8011B950D80A}"/>
                </c:ext>
              </c:extLst>
            </c:dLbl>
            <c:dLbl>
              <c:idx val="2"/>
              <c:layout>
                <c:manualLayout>
                  <c:x val="1.5011820330969268E-2"/>
                  <c:y val="-0.111111111111111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>
                      <a:solidFill>
                        <a:schemeClr val="bg1">
                          <a:lumMod val="75000"/>
                        </a:schemeClr>
                      </a:solidFill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05-4A9D-AD54-8011B950D8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[Книга1]Лист1!$B$11:$B$13</c:f>
              <c:strCache>
                <c:ptCount val="3"/>
                <c:pt idx="0">
                  <c:v>АФК Система</c:v>
                </c:pt>
                <c:pt idx="1">
                  <c:v>МТС</c:v>
                </c:pt>
                <c:pt idx="2">
                  <c:v>Прочие</c:v>
                </c:pt>
              </c:strCache>
            </c:strRef>
          </c:cat>
          <c:val>
            <c:numRef>
              <c:f>[Книга1]Лист1!$C$11:$C$13</c:f>
              <c:numCache>
                <c:formatCode>0%</c:formatCode>
                <c:ptCount val="3"/>
                <c:pt idx="0">
                  <c:v>0.71899999999999997</c:v>
                </c:pt>
                <c:pt idx="1">
                  <c:v>0.26400000000000001</c:v>
                </c:pt>
                <c:pt idx="2">
                  <c:v>1.700000000000001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805-4A9D-AD54-8011B950D80A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50"/>
      </c:doughnutChart>
    </c:plotArea>
    <c:legend>
      <c:legendPos val="t"/>
      <c:legendEntry>
        <c:idx val="2"/>
        <c:delete val="1"/>
      </c:legendEntry>
      <c:layout>
        <c:manualLayout>
          <c:xMode val="edge"/>
          <c:yMode val="edge"/>
          <c:x val="0"/>
          <c:y val="0.76637537551071788"/>
          <c:w val="0.57670207141455643"/>
          <c:h val="0.22967731481481485"/>
        </c:manualLayout>
      </c:layout>
      <c:overlay val="0"/>
      <c:txPr>
        <a:bodyPr/>
        <a:lstStyle/>
        <a:p>
          <a:pPr>
            <a:defRPr sz="150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CC6CA672-7672-400B-80A4-B63EDC7F682E}" type="datetimeFigureOut">
              <a:rPr lang="ru-RU"/>
              <a:pPr>
                <a:defRPr/>
              </a:pPr>
              <a:t>26.02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5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CD351EE7-ED70-4552-AA4E-708B13CB66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62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62361068-ED19-47FD-9CE4-73F57CA90C2A}" type="datetimeFigureOut">
              <a:rPr lang="ru-RU"/>
              <a:pPr>
                <a:defRPr/>
              </a:pPr>
              <a:t>26.0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1AEDABB1-5DD9-4417-B71C-4C3778FA7B9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7229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13069" y="1628800"/>
            <a:ext cx="9243011" cy="2162660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4800" b="1" i="0" baseline="0">
                <a:solidFill>
                  <a:srgbClr val="C00000"/>
                </a:solidFill>
                <a:latin typeface="Futura PT" panose="020B0502020204020303" pitchFamily="34" charset="0"/>
                <a:cs typeface="Futura Medium" panose="020B0602020204020303" pitchFamily="34" charset="-79"/>
              </a:defRPr>
            </a:lvl1pPr>
          </a:lstStyle>
          <a:p>
            <a:r>
              <a:rPr lang="ru-RU" dirty="0"/>
              <a:t>Напиши говорящий заголовок в 1-3 строки, который отражает суть всего слайд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29837" y="4077072"/>
            <a:ext cx="8534400" cy="62442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0" baseline="0">
                <a:solidFill>
                  <a:schemeClr val="bg2"/>
                </a:solidFill>
                <a:latin typeface="Futura PT Book" panose="020B0502020204020303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492B0FA-99E1-3540-BFAC-14561BE88E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92" b="22100"/>
          <a:stretch/>
        </p:blipFill>
        <p:spPr>
          <a:xfrm>
            <a:off x="10498001" y="6334621"/>
            <a:ext cx="1080120" cy="384515"/>
          </a:xfrm>
          <a:prstGeom prst="rect">
            <a:avLst/>
          </a:prstGeom>
        </p:spPr>
      </p:pic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93" userDrawn="1">
          <p15:clr>
            <a:srgbClr val="FBAE40"/>
          </p15:clr>
        </p15:guide>
        <p15:guide id="4" pos="728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13069" y="1628800"/>
            <a:ext cx="9243011" cy="2162660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4800" b="1" i="0" baseline="0">
                <a:solidFill>
                  <a:schemeClr val="tx1"/>
                </a:solidFill>
                <a:latin typeface="Futura PT" panose="020B0502020204020303" pitchFamily="34" charset="0"/>
                <a:cs typeface="Futura Medium" panose="020B0602020204020303" pitchFamily="34" charset="-79"/>
              </a:defRPr>
            </a:lvl1pPr>
          </a:lstStyle>
          <a:p>
            <a:r>
              <a:rPr lang="ru-RU" dirty="0"/>
              <a:t>Напиши говорящий заголовок в 1-3 строки, который отражает суть всего слайд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29837" y="4077072"/>
            <a:ext cx="8534400" cy="62442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0" baseline="0">
                <a:solidFill>
                  <a:schemeClr val="tx1"/>
                </a:solidFill>
                <a:latin typeface="Futura PT Book" panose="020B0502020204020303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2ACF2A1-C1F1-5F43-8FFC-31F7328CB6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92" b="22100"/>
          <a:stretch/>
        </p:blipFill>
        <p:spPr>
          <a:xfrm>
            <a:off x="10776520" y="6382432"/>
            <a:ext cx="811510" cy="28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2206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FBAE40"/>
          </p15:clr>
        </p15:guide>
        <p15:guide id="4" pos="728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Титульный слайд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13069" y="1628800"/>
            <a:ext cx="9243011" cy="2162660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4800" b="1" i="0" baseline="0">
                <a:solidFill>
                  <a:schemeClr val="bg1"/>
                </a:solidFill>
                <a:latin typeface="Futura PT" panose="020B0502020204020303" pitchFamily="34" charset="0"/>
                <a:cs typeface="Futura Medium" panose="020B0602020204020303" pitchFamily="34" charset="-79"/>
              </a:defRPr>
            </a:lvl1pPr>
          </a:lstStyle>
          <a:p>
            <a:r>
              <a:rPr lang="ru-RU" dirty="0"/>
              <a:t>Напиши говорящий заголовок в 1-3 строки, который отражает суть всего слайд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29837" y="4077072"/>
            <a:ext cx="8534400" cy="62442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Futura PT Book" panose="020B0502020204020303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5" name="Picture 2" descr="M:\Data\Digital Marketing\DESIGN\2017\Трудно\Для лены\MTS-Bank_m_cyr_mon_pant_silv.png">
            <a:extLst>
              <a:ext uri="{FF2B5EF4-FFF2-40B4-BE49-F238E27FC236}">
                <a16:creationId xmlns:a16="http://schemas.microsoft.com/office/drawing/2014/main" id="{79AFE83F-6F3E-2140-A2F8-50A159CC20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000" y="260648"/>
            <a:ext cx="1357713" cy="47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65394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FBAE40"/>
          </p15:clr>
        </p15:guide>
        <p15:guide id="4" pos="728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Титульный слайд">
    <p:bg>
      <p:bgPr>
        <a:solidFill>
          <a:srgbClr val="D73A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13069" y="1628800"/>
            <a:ext cx="9243011" cy="2162660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4800" b="1" i="0" baseline="0">
                <a:solidFill>
                  <a:schemeClr val="bg1"/>
                </a:solidFill>
                <a:latin typeface="Futura PT" panose="020B0502020204020303" pitchFamily="34" charset="0"/>
                <a:cs typeface="Futura Medium" panose="020B0602020204020303" pitchFamily="34" charset="-79"/>
              </a:defRPr>
            </a:lvl1pPr>
          </a:lstStyle>
          <a:p>
            <a:r>
              <a:rPr lang="ru-RU" dirty="0"/>
              <a:t>Напиши говорящий заголовок в 1-3 строки, который отражает суть всего слайд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29837" y="3933056"/>
            <a:ext cx="8534400" cy="62442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800" b="0" baseline="0">
                <a:solidFill>
                  <a:schemeClr val="bg1"/>
                </a:solidFill>
                <a:latin typeface="Futura PT Book" panose="020B0502020204020303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4" name="Picture 2" descr="M:\Data\Digital Marketing\DESIGN\2017\Трудно\Для лены\MTS-Bank_m_cyr_mon_pant_silv.png">
            <a:extLst>
              <a:ext uri="{FF2B5EF4-FFF2-40B4-BE49-F238E27FC236}">
                <a16:creationId xmlns:a16="http://schemas.microsoft.com/office/drawing/2014/main" id="{2D2AC698-F8E3-D145-8E10-86F02480D6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000" y="260648"/>
            <a:ext cx="1357713" cy="47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0846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FBAE40"/>
          </p15:clr>
        </p15:guide>
        <p15:guide id="4" pos="728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E3D735C-5929-D745-BD4D-FADDDD6BB4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168" y="332657"/>
            <a:ext cx="10961440" cy="100811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90000"/>
              </a:lnSpc>
              <a:defRPr sz="3600" b="1" i="0">
                <a:solidFill>
                  <a:schemeClr val="tx1"/>
                </a:solidFill>
                <a:latin typeface="Futura PT" panose="020B0502020204020303" pitchFamily="34" charset="0"/>
              </a:defRPr>
            </a:lvl1pPr>
          </a:lstStyle>
          <a:p>
            <a:r>
              <a:rPr lang="ru-RU" dirty="0"/>
              <a:t>Напиши говорящий заголовок в 1-3 строки, который отражает суть всего слайда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B8FAD86-25FE-6D42-99D1-FA33B276E2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064552" y="654150"/>
            <a:ext cx="589856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30A300D-AA65-4E14-9EAD-452D5DCC8E1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9DC4F5A-DDC8-FB4A-B154-38E3042D32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92" b="22100"/>
          <a:stretch/>
        </p:blipFill>
        <p:spPr>
          <a:xfrm>
            <a:off x="10776520" y="6382432"/>
            <a:ext cx="811510" cy="28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8813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3" userDrawn="1">
          <p15:clr>
            <a:srgbClr val="FBAE40"/>
          </p15:clr>
        </p15:guide>
        <p15:guide id="2" pos="7287" userDrawn="1">
          <p15:clr>
            <a:srgbClr val="FBAE40"/>
          </p15:clr>
        </p15:guide>
        <p15:guide id="3" pos="3840" userDrawn="1">
          <p15:clr>
            <a:srgbClr val="FBAE40"/>
          </p15:clr>
        </p15:guide>
        <p15:guide id="4" orient="horz" pos="2160" userDrawn="1">
          <p15:clr>
            <a:srgbClr val="FBAE40"/>
          </p15:clr>
        </p15:guide>
        <p15:guide id="5" orient="horz" pos="3884" userDrawn="1">
          <p15:clr>
            <a:srgbClr val="FBAE40"/>
          </p15:clr>
        </p15:guide>
        <p15:guide id="6" orient="horz" pos="411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2B277C8-73D0-4B49-9203-B21502362C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92" b="22100"/>
          <a:stretch/>
        </p:blipFill>
        <p:spPr>
          <a:xfrm>
            <a:off x="10498001" y="6334621"/>
            <a:ext cx="1080120" cy="384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8385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FBAE40"/>
          </p15:clr>
        </p15:guide>
        <p15:guide id="4" pos="728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ctrTitle"/>
          </p:nvPr>
        </p:nvSpPr>
        <p:spPr>
          <a:xfrm>
            <a:off x="597407" y="1844824"/>
            <a:ext cx="11076923" cy="1224000"/>
          </a:xfrm>
          <a:prstGeom prst="rect">
            <a:avLst/>
          </a:prstGeom>
        </p:spPr>
        <p:txBody>
          <a:bodyPr anchor="ctr"/>
          <a:lstStyle>
            <a:lvl1pPr algn="l">
              <a:defRPr sz="3200" b="1" baseline="0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97407" y="3092608"/>
            <a:ext cx="11076923" cy="396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57B7DC-5404-411A-85DB-6AD4BAEA9E8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2197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57B7DC-5404-411A-85DB-6AD4BAEA9E8A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Заголовок 11"/>
          <p:cNvSpPr>
            <a:spLocks noGrp="1"/>
          </p:cNvSpPr>
          <p:nvPr>
            <p:ph type="title"/>
          </p:nvPr>
        </p:nvSpPr>
        <p:spPr>
          <a:xfrm>
            <a:off x="3260894" y="288002"/>
            <a:ext cx="8499108" cy="755999"/>
          </a:xfrm>
          <a:prstGeom prst="rect">
            <a:avLst/>
          </a:prstGeom>
        </p:spPr>
        <p:txBody>
          <a:bodyPr anchor="ctr"/>
          <a:lstStyle>
            <a:lvl1pPr algn="r">
              <a:defRPr sz="22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0039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4111" r:id="rId2"/>
    <p:sldLayoutId id="2147484112" r:id="rId3"/>
    <p:sldLayoutId id="2147484113" r:id="rId4"/>
    <p:sldLayoutId id="2147484110" r:id="rId5"/>
    <p:sldLayoutId id="2147484114" r:id="rId6"/>
  </p:sldLayoutIdLst>
  <p:hf sldNum="0" hdr="0" dt="0"/>
  <p:txStyles>
    <p:titleStyle>
      <a:lvl1pPr algn="ctr" rtl="0" fontAlgn="base">
        <a:spcBef>
          <a:spcPct val="0"/>
        </a:spcBef>
        <a:spcAft>
          <a:spcPct val="0"/>
        </a:spcAft>
        <a:defRPr lang="ru-RU" sz="2200" kern="1200" dirty="0">
          <a:solidFill>
            <a:srgbClr val="A80000"/>
          </a:solidFill>
          <a:latin typeface="Arial" pitchFamily="34" charset="0"/>
          <a:ea typeface="+mj-ea"/>
          <a:cs typeface="Arial" pitchFamily="34" charset="0"/>
        </a:defRPr>
      </a:lvl1pPr>
      <a:lvl2pPr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1000" b="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>
          <a:xfrm>
            <a:off x="9347200" y="649287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4657B7DC-5404-411A-85DB-6AD4BAEA9E8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068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7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fontAlgn="base">
        <a:spcBef>
          <a:spcPct val="0"/>
        </a:spcBef>
        <a:spcAft>
          <a:spcPct val="0"/>
        </a:spcAft>
        <a:defRPr lang="ru-RU" sz="2200" kern="1200" dirty="0">
          <a:solidFill>
            <a:srgbClr val="A80000"/>
          </a:solidFill>
          <a:latin typeface="Arial" pitchFamily="34" charset="0"/>
          <a:ea typeface="+mj-ea"/>
          <a:cs typeface="Arial" pitchFamily="34" charset="0"/>
        </a:defRPr>
      </a:lvl1pPr>
      <a:lvl2pPr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vklimov@mtsbank.ru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hyperlink" Target="mailto:VRyzhov@mtsbank.ru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Заголовок 1">
            <a:extLst>
              <a:ext uri="{FF2B5EF4-FFF2-40B4-BE49-F238E27FC236}">
                <a16:creationId xmlns:a16="http://schemas.microsoft.com/office/drawing/2014/main" id="{BECBA654-22C4-324E-8ECC-270640AF1052}"/>
              </a:ext>
            </a:extLst>
          </p:cNvPr>
          <p:cNvSpPr txBox="1">
            <a:spLocks/>
          </p:cNvSpPr>
          <p:nvPr/>
        </p:nvSpPr>
        <p:spPr>
          <a:xfrm>
            <a:off x="623392" y="2204864"/>
            <a:ext cx="10163451" cy="720080"/>
          </a:xfrm>
          <a:prstGeom prst="rect">
            <a:avLst/>
          </a:prstGeom>
        </p:spPr>
        <p:txBody>
          <a:bodyPr lIns="0" tIns="0" rIns="0" bIns="0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600" b="1" i="0" kern="1200">
                <a:solidFill>
                  <a:schemeClr val="tx1"/>
                </a:solidFill>
                <a:latin typeface="Futura PT" panose="020B0502020204020303" pitchFamily="34" charset="0"/>
                <a:ea typeface="+mj-ea"/>
                <a:cs typeface="Arial" pitchFamily="34" charset="0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EE1C25"/>
                </a:solidFill>
                <a:latin typeface="Futura New bold"/>
              </a:rPr>
              <a:t>ПАО «МТС-БАНК»</a:t>
            </a:r>
            <a:endParaRPr lang="ru-RU" dirty="0">
              <a:solidFill>
                <a:srgbClr val="EE1C25"/>
              </a:solidFill>
              <a:latin typeface="Futura New bold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51384" y="6487904"/>
            <a:ext cx="5760640" cy="405445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>
              <a:spcBef>
                <a:spcPct val="20000"/>
              </a:spcBef>
              <a:buClr>
                <a:srgbClr val="C00000"/>
              </a:buClr>
              <a:defRPr>
                <a:solidFill>
                  <a:schemeClr val="bg1"/>
                </a:solidFill>
                <a:latin typeface="Futura PT Book" panose="020B0502020204020303" pitchFamily="34" charset="0"/>
                <a:cs typeface="Arial" pitchFamily="34" charset="0"/>
              </a:defRPr>
            </a:lvl1pPr>
          </a:lstStyle>
          <a:p>
            <a:r>
              <a:rPr lang="ru-RU" sz="1200" dirty="0"/>
              <a:t>Генеральная лицензия № 2268 от 17.12.2014 года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23392" y="6263915"/>
            <a:ext cx="5760640" cy="405445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>
              <a:spcBef>
                <a:spcPct val="20000"/>
              </a:spcBef>
              <a:buClr>
                <a:srgbClr val="C00000"/>
              </a:buClr>
              <a:defRPr>
                <a:solidFill>
                  <a:schemeClr val="bg1"/>
                </a:solidFill>
                <a:latin typeface="Futura PT Book" panose="020B0502020204020303" pitchFamily="34" charset="0"/>
                <a:cs typeface="Arial" pitchFamily="34" charset="0"/>
              </a:defRPr>
            </a:lvl1pPr>
          </a:lstStyle>
          <a:p>
            <a:r>
              <a:rPr lang="ru-RU" sz="1200" dirty="0">
                <a:solidFill>
                  <a:srgbClr val="D12D25"/>
                </a:solidFill>
              </a:rPr>
              <a:t>Генеральная лицензия № 2268 от 17.12.2014 года</a:t>
            </a:r>
          </a:p>
        </p:txBody>
      </p:sp>
      <p:pic>
        <p:nvPicPr>
          <p:cNvPr id="33" name="Рисунок 5" descr="MTSBank_rus-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3392" y="359083"/>
            <a:ext cx="1950332" cy="412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8408" y="5830527"/>
            <a:ext cx="2162175" cy="86677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176120" y="4072304"/>
            <a:ext cx="3096344" cy="1008112"/>
          </a:xfrm>
          <a:prstGeom prst="rect">
            <a:avLst/>
          </a:prstGeom>
        </p:spPr>
        <p:txBody>
          <a:bodyPr lIns="108000" tIns="36000" rIns="108000" bIns="72000" anchor="ctr" anchorCtr="0"/>
          <a:lstStyle>
            <a:defPPr>
              <a:defRPr lang="ru-RU"/>
            </a:defPPr>
            <a:lvl1pPr algn="r" eaLnBrk="1" hangingPunct="1">
              <a:defRPr sz="3600" b="1" baseline="0">
                <a:latin typeface="Futura New bold"/>
                <a:ea typeface="+mj-ea"/>
                <a:cs typeface="Arial" pitchFamily="34" charset="0"/>
              </a:defRPr>
            </a:lvl1pPr>
            <a:lvl2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2pPr>
            <a:lvl3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3pPr>
            <a:lvl4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4pPr>
            <a:lvl5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/>
            <a:r>
              <a:rPr lang="ru-RU" dirty="0" smtClean="0">
                <a:solidFill>
                  <a:srgbClr val="262626"/>
                </a:solidFill>
                <a:latin typeface="+mj-lt"/>
              </a:rPr>
              <a:t>Факторинг</a:t>
            </a:r>
            <a:endParaRPr lang="ru-RU" dirty="0">
              <a:solidFill>
                <a:srgbClr val="262626"/>
              </a:solidFill>
              <a:latin typeface="+mj-lt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079776" y="3717032"/>
            <a:ext cx="500984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2711624" y="5591076"/>
            <a:ext cx="500984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8417333" y="4853742"/>
            <a:ext cx="2702150" cy="5778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400" b="1" dirty="0" smtClean="0">
                <a:solidFill>
                  <a:srgbClr val="EE1C25"/>
                </a:solidFill>
                <a:latin typeface="+mj-lt"/>
              </a:rPr>
              <a:t>для Поставщика</a:t>
            </a:r>
            <a:endParaRPr lang="ru-RU" sz="2400" b="1" dirty="0">
              <a:solidFill>
                <a:srgbClr val="EE1C25"/>
              </a:solidFill>
              <a:latin typeface="+mj-lt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973212" y="6333803"/>
            <a:ext cx="5218788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3675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уга 2"/>
          <p:cNvSpPr/>
          <p:nvPr/>
        </p:nvSpPr>
        <p:spPr>
          <a:xfrm rot="6581296">
            <a:off x="-3057320" y="-2411951"/>
            <a:ext cx="5112568" cy="5112568"/>
          </a:xfrm>
          <a:prstGeom prst="arc">
            <a:avLst>
              <a:gd name="adj1" fmla="val 14806373"/>
              <a:gd name="adj2" fmla="val 19736613"/>
            </a:avLst>
          </a:prstGeom>
          <a:ln>
            <a:solidFill>
              <a:srgbClr val="D02D2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5" descr="MTSBank_rus-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5360" y="764704"/>
            <a:ext cx="1362020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5375920" y="541024"/>
            <a:ext cx="8280920" cy="461027"/>
          </a:xfrm>
          <a:prstGeom prst="rect">
            <a:avLst/>
          </a:prstGeom>
        </p:spPr>
        <p:txBody>
          <a:bodyPr lIns="108000" tIns="36000" rIns="108000" bIns="72000" anchor="ctr" anchorCtr="0"/>
          <a:lstStyle>
            <a:defPPr>
              <a:defRPr lang="ru-RU"/>
            </a:defPPr>
            <a:lvl1pPr algn="r" eaLnBrk="1" hangingPunct="1">
              <a:defRPr sz="3600" b="1" baseline="0">
                <a:latin typeface="Futura New bold"/>
                <a:ea typeface="+mj-ea"/>
                <a:cs typeface="Arial" pitchFamily="34" charset="0"/>
              </a:defRPr>
            </a:lvl1pPr>
            <a:lvl2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2pPr>
            <a:lvl3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3pPr>
            <a:lvl4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4pPr>
            <a:lvl5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/>
            <a:r>
              <a:rPr lang="ru-RU" sz="2800" dirty="0" smtClean="0">
                <a:solidFill>
                  <a:srgbClr val="262626"/>
                </a:solidFill>
                <a:latin typeface="+mj-lt"/>
              </a:rPr>
              <a:t>Отличия продукта </a:t>
            </a:r>
          </a:p>
          <a:p>
            <a:pPr algn="l"/>
            <a:r>
              <a:rPr lang="ru-RU" sz="2800" dirty="0" smtClean="0">
                <a:solidFill>
                  <a:srgbClr val="262626"/>
                </a:solidFill>
                <a:latin typeface="+mj-lt"/>
              </a:rPr>
              <a:t>С РЕГРЕССОМ и БЕЗ РЕГРЕССА</a:t>
            </a:r>
          </a:p>
          <a:p>
            <a:pPr algn="l"/>
            <a:endParaRPr lang="ru-RU" sz="2800" dirty="0">
              <a:solidFill>
                <a:srgbClr val="262626"/>
              </a:solidFill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14066" y="1444795"/>
            <a:ext cx="2991460" cy="369332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rtlCol="0">
            <a:spAutoFit/>
          </a:bodyPr>
          <a:lstStyle/>
          <a:p>
            <a:r>
              <a:rPr lang="ru-RU" dirty="0" smtClean="0"/>
              <a:t> ФАКТОРИНГ с регрессом</a:t>
            </a:r>
            <a:endParaRPr lang="ru-RU" dirty="0"/>
          </a:p>
        </p:txBody>
      </p:sp>
      <p:sp>
        <p:nvSpPr>
          <p:cNvPr id="8" name="Двойные круглые скобки 7"/>
          <p:cNvSpPr/>
          <p:nvPr/>
        </p:nvSpPr>
        <p:spPr>
          <a:xfrm>
            <a:off x="3174025" y="1444795"/>
            <a:ext cx="2931501" cy="369332"/>
          </a:xfrm>
          <a:prstGeom prst="bracketPair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825291" y="1440467"/>
            <a:ext cx="3008516" cy="369332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rtlCol="0">
            <a:spAutoFit/>
          </a:bodyPr>
          <a:lstStyle/>
          <a:p>
            <a:r>
              <a:rPr lang="ru-RU" dirty="0" smtClean="0"/>
              <a:t>ФАКТОРИНГ без регресса</a:t>
            </a:r>
            <a:endParaRPr lang="ru-RU" dirty="0"/>
          </a:p>
        </p:txBody>
      </p:sp>
      <p:sp>
        <p:nvSpPr>
          <p:cNvPr id="10" name="Двойные круглые скобки 9"/>
          <p:cNvSpPr/>
          <p:nvPr/>
        </p:nvSpPr>
        <p:spPr>
          <a:xfrm>
            <a:off x="7825291" y="1440467"/>
            <a:ext cx="3008516" cy="369332"/>
          </a:xfrm>
          <a:prstGeom prst="bracketPair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246239" y="2459431"/>
            <a:ext cx="3848663" cy="667843"/>
          </a:xfrm>
          <a:prstGeom prst="roundRect">
            <a:avLst/>
          </a:prstGeom>
          <a:noFill/>
          <a:ln w="2540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биторская задолженность остается на балансе поставщика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697380" y="3438627"/>
            <a:ext cx="4394821" cy="611219"/>
          </a:xfrm>
          <a:prstGeom prst="roundRect">
            <a:avLst/>
          </a:prstGeom>
          <a:noFill/>
          <a:ln w="2540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отражается  на балансе Поставщика как кредит / </a:t>
            </a:r>
            <a:r>
              <a:rPr 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йм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283962" y="4371378"/>
            <a:ext cx="4808239" cy="624847"/>
          </a:xfrm>
          <a:prstGeom prst="roundRect">
            <a:avLst/>
          </a:prstGeom>
          <a:noFill/>
          <a:ln w="2540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к неоплаты Покупателем поставок лежит на Поставщике.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844902" y="5317757"/>
            <a:ext cx="5247299" cy="898862"/>
          </a:xfrm>
          <a:prstGeom prst="roundRect">
            <a:avLst/>
          </a:prstGeom>
          <a:noFill/>
          <a:ln w="2540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врат финансирования Банку осуществляется: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платежей покупателей</a:t>
            </a:r>
          </a:p>
          <a:p>
            <a:pPr marL="742950" lvl="1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вщиком в случае не оплаты покупателем (регресс)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7827992" y="2459430"/>
            <a:ext cx="3627837" cy="667844"/>
          </a:xfrm>
          <a:prstGeom prst="roundRect">
            <a:avLst/>
          </a:prstGeom>
          <a:noFill/>
          <a:ln w="1905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биторская задолженность списывается с баланса Поставщика в момент выплаты финансирования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7848881" y="3429233"/>
            <a:ext cx="3606948" cy="640086"/>
          </a:xfrm>
          <a:prstGeom prst="roundRect">
            <a:avLst/>
          </a:prstGeom>
          <a:noFill/>
          <a:ln w="1905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не отражается как кредит / </a:t>
            </a:r>
            <a:r>
              <a:rPr 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йм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балансе Поставщика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7848881" y="4373439"/>
            <a:ext cx="3606948" cy="622786"/>
          </a:xfrm>
          <a:prstGeom prst="roundRect">
            <a:avLst/>
          </a:prstGeom>
          <a:noFill/>
          <a:ln w="1905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к неоплаты Покупателем поставок переходит от Поставщика Банку. Риск потерь минимизирован.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825291" y="5317757"/>
            <a:ext cx="3606948" cy="898862"/>
          </a:xfrm>
          <a:prstGeom prst="roundRect">
            <a:avLst/>
          </a:prstGeom>
          <a:noFill/>
          <a:ln w="1905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врат финансирования Банку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ществляется только из платежей покупателей, т.к. регресс отсутствует.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6960096" y="2569816"/>
            <a:ext cx="0" cy="3646803"/>
          </a:xfrm>
          <a:prstGeom prst="line">
            <a:avLst/>
          </a:prstGeom>
          <a:ln w="22225">
            <a:solidFill>
              <a:srgbClr val="0093B2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Овал 30"/>
          <p:cNvSpPr/>
          <p:nvPr/>
        </p:nvSpPr>
        <p:spPr>
          <a:xfrm>
            <a:off x="1950075" y="1270912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Овал 31"/>
          <p:cNvSpPr/>
          <p:nvPr/>
        </p:nvSpPr>
        <p:spPr>
          <a:xfrm>
            <a:off x="293835" y="2755688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Овал 32"/>
          <p:cNvSpPr/>
          <p:nvPr/>
        </p:nvSpPr>
        <p:spPr>
          <a:xfrm>
            <a:off x="1283962" y="2120914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Овал 33"/>
          <p:cNvSpPr/>
          <p:nvPr/>
        </p:nvSpPr>
        <p:spPr>
          <a:xfrm>
            <a:off x="2427124" y="281670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-99920" y="6453336"/>
            <a:ext cx="5218788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Нашивка 26"/>
          <p:cNvSpPr/>
          <p:nvPr/>
        </p:nvSpPr>
        <p:spPr>
          <a:xfrm>
            <a:off x="7432025" y="2571375"/>
            <a:ext cx="215076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Нашивка 26"/>
          <p:cNvSpPr/>
          <p:nvPr/>
        </p:nvSpPr>
        <p:spPr>
          <a:xfrm>
            <a:off x="7281163" y="2571375"/>
            <a:ext cx="215076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7" name="Нашивка 26"/>
          <p:cNvSpPr/>
          <p:nvPr/>
        </p:nvSpPr>
        <p:spPr>
          <a:xfrm flipH="1">
            <a:off x="6488168" y="5589240"/>
            <a:ext cx="221337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8" name="Нашивка 26"/>
          <p:cNvSpPr/>
          <p:nvPr/>
        </p:nvSpPr>
        <p:spPr>
          <a:xfrm flipH="1">
            <a:off x="6337306" y="5589240"/>
            <a:ext cx="221337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88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Прямоугольник 223"/>
          <p:cNvSpPr/>
          <p:nvPr/>
        </p:nvSpPr>
        <p:spPr>
          <a:xfrm>
            <a:off x="10534454" y="6274131"/>
            <a:ext cx="1080120" cy="3568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80543" y="117755"/>
            <a:ext cx="5426424" cy="879581"/>
          </a:xfrm>
          <a:prstGeom prst="rect">
            <a:avLst/>
          </a:prstGeom>
        </p:spPr>
        <p:txBody>
          <a:bodyPr lIns="108000" tIns="36000" rIns="108000" bIns="72000" anchor="ctr" anchorCtr="0"/>
          <a:lstStyle>
            <a:defPPr>
              <a:defRPr lang="ru-RU"/>
            </a:defPPr>
            <a:lvl1pPr algn="r" eaLnBrk="1" hangingPunct="1">
              <a:defRPr sz="3600" b="1" baseline="0">
                <a:latin typeface="Futura New bold"/>
                <a:ea typeface="+mj-ea"/>
                <a:cs typeface="Arial" pitchFamily="34" charset="0"/>
              </a:defRPr>
            </a:lvl1pPr>
            <a:lvl2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2pPr>
            <a:lvl3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3pPr>
            <a:lvl4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4pPr>
            <a:lvl5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Процесс взаимодействия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968208" y="410395"/>
            <a:ext cx="265520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 smtClean="0">
                <a:solidFill>
                  <a:srgbClr val="C00000"/>
                </a:solidFill>
                <a:latin typeface="Arial"/>
              </a:rPr>
              <a:t>Факторинг с регрессом</a:t>
            </a:r>
          </a:p>
          <a:p>
            <a:pPr marL="0" marR="0" lvl="0" indent="0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Факторинг</a:t>
            </a:r>
            <a:r>
              <a:rPr kumimoji="0" lang="ru-RU" sz="16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без регресс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5" name="Дуга 4"/>
          <p:cNvSpPr/>
          <p:nvPr/>
        </p:nvSpPr>
        <p:spPr>
          <a:xfrm rot="13012551">
            <a:off x="10643014" y="-2285762"/>
            <a:ext cx="5112568" cy="5112568"/>
          </a:xfrm>
          <a:prstGeom prst="arc">
            <a:avLst>
              <a:gd name="adj1" fmla="val 15370703"/>
              <a:gd name="adj2" fmla="val 19736613"/>
            </a:avLst>
          </a:prstGeom>
          <a:ln>
            <a:solidFill>
              <a:srgbClr val="D02D2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9" name="Рисунок 5" descr="MTSBank_rus-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28608" y="1155237"/>
            <a:ext cx="1517020" cy="320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8" name="Нашивка 26"/>
          <p:cNvSpPr/>
          <p:nvPr/>
        </p:nvSpPr>
        <p:spPr>
          <a:xfrm>
            <a:off x="2921823" y="1118933"/>
            <a:ext cx="215076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1751587" y="1610289"/>
            <a:ext cx="215444" cy="1251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2" name="Прямая соединительная линия 121"/>
          <p:cNvCxnSpPr/>
          <p:nvPr/>
        </p:nvCxnSpPr>
        <p:spPr>
          <a:xfrm>
            <a:off x="5087888" y="217790"/>
            <a:ext cx="5218788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Прямоугольник 153"/>
          <p:cNvSpPr/>
          <p:nvPr/>
        </p:nvSpPr>
        <p:spPr>
          <a:xfrm>
            <a:off x="1796481" y="1073288"/>
            <a:ext cx="215444" cy="1251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3" name="Нашивка 26"/>
          <p:cNvSpPr/>
          <p:nvPr/>
        </p:nvSpPr>
        <p:spPr>
          <a:xfrm>
            <a:off x="2770961" y="1118933"/>
            <a:ext cx="215076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10321" y="1952875"/>
            <a:ext cx="2360640" cy="468889"/>
          </a:xfrm>
          <a:prstGeom prst="roundRect">
            <a:avLst/>
          </a:prstGeom>
          <a:noFill/>
          <a:ln w="1905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ализ и структурирование сделки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5" name="Скругленный прямоугольник 174"/>
          <p:cNvSpPr/>
          <p:nvPr/>
        </p:nvSpPr>
        <p:spPr>
          <a:xfrm>
            <a:off x="3530869" y="2459560"/>
            <a:ext cx="2185089" cy="459298"/>
          </a:xfrm>
          <a:prstGeom prst="roundRect">
            <a:avLst/>
          </a:prstGeom>
          <a:noFill/>
          <a:ln w="1905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sz="1400" dirty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ор пакета документов</a:t>
            </a:r>
          </a:p>
        </p:txBody>
      </p:sp>
      <p:pic>
        <p:nvPicPr>
          <p:cNvPr id="176" name="Рисунок 5" descr="MTSBank_rus-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969473" y="658511"/>
            <a:ext cx="978413" cy="206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7" name="Скругленный прямоугольник 176"/>
          <p:cNvSpPr/>
          <p:nvPr/>
        </p:nvSpPr>
        <p:spPr>
          <a:xfrm>
            <a:off x="2921823" y="3219956"/>
            <a:ext cx="3403183" cy="459298"/>
          </a:xfrm>
          <a:prstGeom prst="roundRect">
            <a:avLst/>
          </a:prstGeom>
          <a:noFill/>
          <a:ln w="1905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тверждение сделки и лимитов на поставщика / покупателя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8" name="TextBox 177"/>
          <p:cNvSpPr txBox="1"/>
          <p:nvPr/>
        </p:nvSpPr>
        <p:spPr>
          <a:xfrm>
            <a:off x="525342" y="1151367"/>
            <a:ext cx="1695208" cy="369332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ОСТАВЩИК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79" name="Двойные круглые скобки 178"/>
          <p:cNvSpPr/>
          <p:nvPr/>
        </p:nvSpPr>
        <p:spPr>
          <a:xfrm>
            <a:off x="525342" y="1151367"/>
            <a:ext cx="1648849" cy="369332"/>
          </a:xfrm>
          <a:prstGeom prst="bracketPair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0" name="Скругленный прямоугольник 179"/>
          <p:cNvSpPr/>
          <p:nvPr/>
        </p:nvSpPr>
        <p:spPr>
          <a:xfrm>
            <a:off x="263352" y="3926197"/>
            <a:ext cx="2447079" cy="459298"/>
          </a:xfrm>
          <a:prstGeom prst="roundRect">
            <a:avLst/>
          </a:prstGeom>
          <a:noFill/>
          <a:ln w="1905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дписание договора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факторинга поставщиком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1" name="Скругленный прямоугольник 180"/>
          <p:cNvSpPr/>
          <p:nvPr/>
        </p:nvSpPr>
        <p:spPr>
          <a:xfrm>
            <a:off x="2033855" y="4678647"/>
            <a:ext cx="2185089" cy="459298"/>
          </a:xfrm>
          <a:prstGeom prst="roundRect">
            <a:avLst/>
          </a:prstGeom>
          <a:noFill/>
          <a:ln w="1905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sz="1400" dirty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ключение к ЭДО Банка</a:t>
            </a:r>
          </a:p>
        </p:txBody>
      </p:sp>
      <p:sp>
        <p:nvSpPr>
          <p:cNvPr id="182" name="Скругленный прямоугольник 181"/>
          <p:cNvSpPr/>
          <p:nvPr/>
        </p:nvSpPr>
        <p:spPr>
          <a:xfrm>
            <a:off x="527450" y="5448875"/>
            <a:ext cx="2806204" cy="459298"/>
          </a:xfrm>
          <a:prstGeom prst="roundRect">
            <a:avLst/>
          </a:prstGeom>
          <a:noFill/>
          <a:ln w="1905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правление уведомления </a:t>
            </a:r>
            <a:r>
              <a:rPr lang="ru-RU" sz="1400" dirty="0" smtClean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упателю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3" name="Скругленный прямоугольник 182"/>
          <p:cNvSpPr/>
          <p:nvPr/>
        </p:nvSpPr>
        <p:spPr>
          <a:xfrm>
            <a:off x="3866822" y="5827301"/>
            <a:ext cx="3217041" cy="620074"/>
          </a:xfrm>
          <a:prstGeom prst="roundRect">
            <a:avLst/>
          </a:prstGeom>
          <a:noFill/>
          <a:ln w="2540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грузка товара в рамках факторинг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4" name="Скругленный прямоугольник 183"/>
          <p:cNvSpPr/>
          <p:nvPr/>
        </p:nvSpPr>
        <p:spPr>
          <a:xfrm>
            <a:off x="8558776" y="2482266"/>
            <a:ext cx="2959419" cy="851365"/>
          </a:xfrm>
          <a:prstGeom prst="roundRect">
            <a:avLst/>
          </a:prstGeom>
          <a:noFill/>
          <a:ln w="1905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оставление поставщиком  документов, подтверждающих действительность денежного требования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86" name="Прямая со стрелкой 185"/>
          <p:cNvCxnSpPr/>
          <p:nvPr/>
        </p:nvCxnSpPr>
        <p:spPr>
          <a:xfrm flipV="1">
            <a:off x="1505610" y="2778688"/>
            <a:ext cx="1872567" cy="12373"/>
          </a:xfrm>
          <a:prstGeom prst="straightConnector1">
            <a:avLst/>
          </a:prstGeom>
          <a:ln w="19050">
            <a:solidFill>
              <a:srgbClr val="0093B2"/>
            </a:solidFill>
            <a:tailEnd type="triangle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Прямая соединительная линия 186"/>
          <p:cNvCxnSpPr/>
          <p:nvPr/>
        </p:nvCxnSpPr>
        <p:spPr>
          <a:xfrm>
            <a:off x="1505610" y="2541216"/>
            <a:ext cx="0" cy="249845"/>
          </a:xfrm>
          <a:prstGeom prst="line">
            <a:avLst/>
          </a:prstGeom>
          <a:ln w="19050">
            <a:solidFill>
              <a:srgbClr val="0093B2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Прямая соединительная линия 188"/>
          <p:cNvCxnSpPr/>
          <p:nvPr/>
        </p:nvCxnSpPr>
        <p:spPr>
          <a:xfrm flipH="1">
            <a:off x="5794089" y="2778688"/>
            <a:ext cx="1289774" cy="0"/>
          </a:xfrm>
          <a:prstGeom prst="line">
            <a:avLst/>
          </a:prstGeom>
          <a:ln w="19050">
            <a:solidFill>
              <a:srgbClr val="0093B2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Прямая соединительная линия 190"/>
          <p:cNvCxnSpPr/>
          <p:nvPr/>
        </p:nvCxnSpPr>
        <p:spPr>
          <a:xfrm flipH="1">
            <a:off x="7083863" y="2791061"/>
            <a:ext cx="9147" cy="658544"/>
          </a:xfrm>
          <a:prstGeom prst="line">
            <a:avLst/>
          </a:prstGeom>
          <a:ln w="19050">
            <a:solidFill>
              <a:srgbClr val="0093B2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Прямая со стрелкой 192"/>
          <p:cNvCxnSpPr/>
          <p:nvPr/>
        </p:nvCxnSpPr>
        <p:spPr>
          <a:xfrm flipH="1">
            <a:off x="6502006" y="3449605"/>
            <a:ext cx="591005" cy="0"/>
          </a:xfrm>
          <a:prstGeom prst="straightConnector1">
            <a:avLst/>
          </a:prstGeom>
          <a:ln w="19050">
            <a:solidFill>
              <a:srgbClr val="0093B2"/>
            </a:solidFill>
            <a:tailEnd type="triangle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Прямая соединительная линия 195"/>
          <p:cNvCxnSpPr/>
          <p:nvPr/>
        </p:nvCxnSpPr>
        <p:spPr>
          <a:xfrm flipH="1">
            <a:off x="1505610" y="3444728"/>
            <a:ext cx="1204822" cy="4877"/>
          </a:xfrm>
          <a:prstGeom prst="line">
            <a:avLst/>
          </a:prstGeom>
          <a:ln w="19050">
            <a:solidFill>
              <a:srgbClr val="0093B2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Прямая со стрелкой 197"/>
          <p:cNvCxnSpPr/>
          <p:nvPr/>
        </p:nvCxnSpPr>
        <p:spPr>
          <a:xfrm>
            <a:off x="1505609" y="3464326"/>
            <a:ext cx="1" cy="296209"/>
          </a:xfrm>
          <a:prstGeom prst="straightConnector1">
            <a:avLst/>
          </a:prstGeom>
          <a:ln w="19050">
            <a:solidFill>
              <a:srgbClr val="0093B2"/>
            </a:solidFill>
            <a:tailEnd type="triangle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Прямая соединительная линия 202"/>
          <p:cNvCxnSpPr/>
          <p:nvPr/>
        </p:nvCxnSpPr>
        <p:spPr>
          <a:xfrm flipH="1">
            <a:off x="2885982" y="4155846"/>
            <a:ext cx="842626" cy="0"/>
          </a:xfrm>
          <a:prstGeom prst="line">
            <a:avLst/>
          </a:prstGeom>
          <a:ln w="19050">
            <a:solidFill>
              <a:srgbClr val="0093B2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Прямая со стрелкой 204"/>
          <p:cNvCxnSpPr/>
          <p:nvPr/>
        </p:nvCxnSpPr>
        <p:spPr>
          <a:xfrm>
            <a:off x="3728608" y="4163207"/>
            <a:ext cx="0" cy="401104"/>
          </a:xfrm>
          <a:prstGeom prst="straightConnector1">
            <a:avLst/>
          </a:prstGeom>
          <a:ln w="19050">
            <a:solidFill>
              <a:srgbClr val="0093B2"/>
            </a:solidFill>
            <a:tailEnd type="triangle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Прямая соединительная линия 206"/>
          <p:cNvCxnSpPr/>
          <p:nvPr/>
        </p:nvCxnSpPr>
        <p:spPr>
          <a:xfrm flipH="1">
            <a:off x="813374" y="4906410"/>
            <a:ext cx="983107" cy="1886"/>
          </a:xfrm>
          <a:prstGeom prst="line">
            <a:avLst/>
          </a:prstGeom>
          <a:ln w="19050">
            <a:solidFill>
              <a:srgbClr val="0093B2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Прямая со стрелкой 208"/>
          <p:cNvCxnSpPr/>
          <p:nvPr/>
        </p:nvCxnSpPr>
        <p:spPr>
          <a:xfrm>
            <a:off x="820933" y="4906410"/>
            <a:ext cx="0" cy="401104"/>
          </a:xfrm>
          <a:prstGeom prst="straightConnector1">
            <a:avLst/>
          </a:prstGeom>
          <a:ln w="19050">
            <a:solidFill>
              <a:srgbClr val="0093B2"/>
            </a:solidFill>
            <a:tailEnd type="triangle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Скругленный прямоугольник 209"/>
          <p:cNvSpPr/>
          <p:nvPr/>
        </p:nvSpPr>
        <p:spPr>
          <a:xfrm>
            <a:off x="8558121" y="3537604"/>
            <a:ext cx="2959419" cy="459298"/>
          </a:xfrm>
          <a:prstGeom prst="roundRect">
            <a:avLst/>
          </a:prstGeom>
          <a:noFill/>
          <a:ln w="1905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ерификация поставок Банком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1" name="Скругленный прямоугольник 210"/>
          <p:cNvSpPr/>
          <p:nvPr/>
        </p:nvSpPr>
        <p:spPr>
          <a:xfrm>
            <a:off x="8558121" y="4205171"/>
            <a:ext cx="2959419" cy="459298"/>
          </a:xfrm>
          <a:prstGeom prst="roundRect">
            <a:avLst/>
          </a:prstGeom>
          <a:noFill/>
          <a:ln w="1905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плата поставщику финансирования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2" name="Скругленный прямоугольник 211"/>
          <p:cNvSpPr/>
          <p:nvPr/>
        </p:nvSpPr>
        <p:spPr>
          <a:xfrm>
            <a:off x="8558121" y="4862294"/>
            <a:ext cx="2963719" cy="643015"/>
          </a:xfrm>
          <a:prstGeom prst="roundRect">
            <a:avLst/>
          </a:prstGeom>
          <a:noFill/>
          <a:ln w="1905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ерационное сопровождение и управление дебиторской задолженностью Банком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3" name="Скругленный прямоугольник 212"/>
          <p:cNvSpPr/>
          <p:nvPr/>
        </p:nvSpPr>
        <p:spPr>
          <a:xfrm>
            <a:off x="8558121" y="5703134"/>
            <a:ext cx="2963719" cy="643015"/>
          </a:xfrm>
          <a:prstGeom prst="roundRect">
            <a:avLst/>
          </a:prstGeom>
          <a:noFill/>
          <a:ln w="1905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жеквартальный мониторинг, ежегодный пересмотр лимита Банком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14" name="Прямая со стрелкой 213"/>
          <p:cNvCxnSpPr/>
          <p:nvPr/>
        </p:nvCxnSpPr>
        <p:spPr>
          <a:xfrm flipV="1">
            <a:off x="1835247" y="6188952"/>
            <a:ext cx="1872567" cy="12373"/>
          </a:xfrm>
          <a:prstGeom prst="straightConnector1">
            <a:avLst/>
          </a:prstGeom>
          <a:ln w="19050">
            <a:solidFill>
              <a:srgbClr val="0093B2"/>
            </a:solidFill>
            <a:tailEnd type="triangle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Прямая соединительная линия 214"/>
          <p:cNvCxnSpPr/>
          <p:nvPr/>
        </p:nvCxnSpPr>
        <p:spPr>
          <a:xfrm>
            <a:off x="1835247" y="6061442"/>
            <a:ext cx="0" cy="151791"/>
          </a:xfrm>
          <a:prstGeom prst="line">
            <a:avLst/>
          </a:prstGeom>
          <a:ln w="19050">
            <a:solidFill>
              <a:srgbClr val="0093B2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Нашивка 26"/>
          <p:cNvSpPr/>
          <p:nvPr/>
        </p:nvSpPr>
        <p:spPr>
          <a:xfrm>
            <a:off x="7449880" y="5915476"/>
            <a:ext cx="215076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2" name="Нашивка 26"/>
          <p:cNvSpPr/>
          <p:nvPr/>
        </p:nvSpPr>
        <p:spPr>
          <a:xfrm>
            <a:off x="7299018" y="5915476"/>
            <a:ext cx="215076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25" name="Прямая соединительная линия 224"/>
          <p:cNvCxnSpPr/>
          <p:nvPr/>
        </p:nvCxnSpPr>
        <p:spPr>
          <a:xfrm>
            <a:off x="8158190" y="2448360"/>
            <a:ext cx="0" cy="3983800"/>
          </a:xfrm>
          <a:prstGeom prst="line">
            <a:avLst/>
          </a:prstGeom>
          <a:ln w="19050">
            <a:solidFill>
              <a:srgbClr val="0093B2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Прямая соединительная линия 228"/>
          <p:cNvCxnSpPr/>
          <p:nvPr/>
        </p:nvCxnSpPr>
        <p:spPr>
          <a:xfrm>
            <a:off x="8083558" y="865420"/>
            <a:ext cx="2592288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8590385" y="1995974"/>
            <a:ext cx="2379088" cy="449453"/>
          </a:xfrm>
          <a:prstGeom prst="rect">
            <a:avLst/>
          </a:prstGeom>
        </p:spPr>
        <p:txBody>
          <a:bodyPr lIns="108000" tIns="36000" rIns="108000" bIns="72000" anchor="ctr" anchorCtr="0"/>
          <a:lstStyle>
            <a:defPPr>
              <a:defRPr lang="ru-RU"/>
            </a:defPPr>
            <a:lvl1pPr algn="r" eaLnBrk="1" hangingPunct="1">
              <a:defRPr sz="3600" b="1" baseline="0">
                <a:latin typeface="Futura New bold"/>
                <a:ea typeface="+mj-ea"/>
                <a:cs typeface="Arial" pitchFamily="34" charset="0"/>
              </a:defRPr>
            </a:lvl1pPr>
            <a:lvl2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2pPr>
            <a:lvl3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3pPr>
            <a:lvl4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4pPr>
            <a:lvl5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i="0" u="none" strike="noStrike" kern="1200" cap="none" spc="0" normalizeH="0" baseline="0" noProof="0" dirty="0" smtClean="0">
                <a:ln>
                  <a:noFill/>
                </a:ln>
                <a:solidFill>
                  <a:srgbClr val="0093B2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ПОСТОЯННЫЙ ОПЕРАЦИОННЫЙ</a:t>
            </a:r>
            <a:r>
              <a:rPr kumimoji="0" lang="ru-RU" sz="1100" i="0" u="none" strike="noStrike" kern="1200" cap="none" spc="0" normalizeH="0" noProof="0" dirty="0" smtClean="0">
                <a:ln>
                  <a:noFill/>
                </a:ln>
                <a:solidFill>
                  <a:srgbClr val="0093B2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 ПРОЦЕСС:</a:t>
            </a:r>
            <a:endParaRPr kumimoji="0" lang="ru-RU" sz="1100" i="0" u="none" strike="noStrike" kern="1200" cap="none" spc="0" normalizeH="0" baseline="0" noProof="0" dirty="0">
              <a:ln>
                <a:noFill/>
              </a:ln>
              <a:solidFill>
                <a:srgbClr val="0093B2"/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</p:txBody>
      </p:sp>
      <p:cxnSp>
        <p:nvCxnSpPr>
          <p:cNvPr id="45" name="Прямая со стрелкой 44"/>
          <p:cNvCxnSpPr/>
          <p:nvPr/>
        </p:nvCxnSpPr>
        <p:spPr>
          <a:xfrm>
            <a:off x="9010560" y="3359315"/>
            <a:ext cx="0" cy="178289"/>
          </a:xfrm>
          <a:prstGeom prst="straightConnector1">
            <a:avLst/>
          </a:prstGeom>
          <a:ln w="19050">
            <a:solidFill>
              <a:srgbClr val="0093B2"/>
            </a:solidFill>
            <a:tailEnd type="triangle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>
            <a:off x="11026784" y="4026882"/>
            <a:ext cx="0" cy="178289"/>
          </a:xfrm>
          <a:prstGeom prst="straightConnector1">
            <a:avLst/>
          </a:prstGeom>
          <a:ln w="19050">
            <a:solidFill>
              <a:srgbClr val="0093B2"/>
            </a:solidFill>
            <a:tailEnd type="triangle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47"/>
          <p:cNvCxnSpPr/>
          <p:nvPr/>
        </p:nvCxnSpPr>
        <p:spPr>
          <a:xfrm>
            <a:off x="9010560" y="4664469"/>
            <a:ext cx="0" cy="178289"/>
          </a:xfrm>
          <a:prstGeom prst="straightConnector1">
            <a:avLst/>
          </a:prstGeom>
          <a:ln w="19050">
            <a:solidFill>
              <a:srgbClr val="0093B2"/>
            </a:solidFill>
            <a:tailEnd type="triangle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 стрелкой 49"/>
          <p:cNvCxnSpPr/>
          <p:nvPr/>
        </p:nvCxnSpPr>
        <p:spPr>
          <a:xfrm>
            <a:off x="11026784" y="5524845"/>
            <a:ext cx="0" cy="178289"/>
          </a:xfrm>
          <a:prstGeom prst="straightConnector1">
            <a:avLst/>
          </a:prstGeom>
          <a:ln w="19050">
            <a:solidFill>
              <a:srgbClr val="0093B2"/>
            </a:solidFill>
            <a:tailEnd type="triangle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4256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уга 2"/>
          <p:cNvSpPr/>
          <p:nvPr/>
        </p:nvSpPr>
        <p:spPr>
          <a:xfrm rot="2264829">
            <a:off x="-3243230" y="4026873"/>
            <a:ext cx="5112568" cy="5112568"/>
          </a:xfrm>
          <a:prstGeom prst="arc">
            <a:avLst>
              <a:gd name="adj1" fmla="val 14858109"/>
              <a:gd name="adj2" fmla="val 19736613"/>
            </a:avLst>
          </a:prstGeom>
          <a:ln>
            <a:solidFill>
              <a:srgbClr val="D02D2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Рисунок 5" descr="MTSBank_rus-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3352" y="5805264"/>
            <a:ext cx="1362020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436439" y="110465"/>
            <a:ext cx="9748292" cy="1038632"/>
          </a:xfrm>
          <a:prstGeom prst="rect">
            <a:avLst/>
          </a:prstGeom>
        </p:spPr>
        <p:txBody>
          <a:bodyPr lIns="108000" tIns="36000" rIns="108000" bIns="72000" anchor="ctr" anchorCtr="0"/>
          <a:lstStyle>
            <a:defPPr>
              <a:defRPr lang="ru-RU"/>
            </a:defPPr>
            <a:lvl1pPr algn="r" eaLnBrk="1" hangingPunct="1">
              <a:defRPr sz="3600" b="1" baseline="0">
                <a:latin typeface="Futura New bold"/>
                <a:ea typeface="+mj-ea"/>
                <a:cs typeface="Arial" pitchFamily="34" charset="0"/>
              </a:defRPr>
            </a:lvl1pPr>
            <a:lvl2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2pPr>
            <a:lvl3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3pPr>
            <a:lvl4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4pPr>
            <a:lvl5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Возможные варианты оплаты комиссии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44362" y="1441925"/>
            <a:ext cx="680782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 работе по факторингу возможно разделение </a:t>
            </a:r>
            <a:r>
              <a:rPr kumimoji="0" 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акторинговой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комиссии между поставщиком и покупателем в зависимости от достигнутых договоренностей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9324655" y="454243"/>
            <a:ext cx="1460336" cy="4160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ФАКТОРИНГ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9408368" y="884584"/>
            <a:ext cx="2783632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0" name="Прямоугольник 79"/>
          <p:cNvSpPr/>
          <p:nvPr/>
        </p:nvSpPr>
        <p:spPr>
          <a:xfrm>
            <a:off x="2845535" y="3253986"/>
            <a:ext cx="2501488" cy="307777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риант 1: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СТАВЩИК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5259240" y="3232323"/>
            <a:ext cx="644048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всю комиссию оплачивает Поставщик (стандартный вариант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2883133" y="3801953"/>
            <a:ext cx="2467058" cy="307777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риант 2:  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КУПАТЕЛЬ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5259240" y="3797277"/>
            <a:ext cx="528835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всю комиссию оплачивает Покупатель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2445778" y="4421174"/>
            <a:ext cx="4652132" cy="307777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риант 3: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ПОСТАВЩИК + ПОКУПАТЕЛЬ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6618968" y="4399511"/>
            <a:ext cx="511256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комиссия делится между поставщиком и покупателем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6312024" y="5301208"/>
            <a:ext cx="5218788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1093236" y="2780928"/>
            <a:ext cx="5218788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Скругленный прямоугольник 15"/>
          <p:cNvSpPr/>
          <p:nvPr/>
        </p:nvSpPr>
        <p:spPr>
          <a:xfrm>
            <a:off x="2820278" y="3151794"/>
            <a:ext cx="8710534" cy="1753298"/>
          </a:xfrm>
          <a:prstGeom prst="roundRect">
            <a:avLst>
              <a:gd name="adj" fmla="val 2349"/>
            </a:avLst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01499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2561375" y="221579"/>
            <a:ext cx="2414933" cy="507431"/>
          </a:xfrm>
          <a:prstGeom prst="rect">
            <a:avLst/>
          </a:prstGeom>
        </p:spPr>
        <p:txBody>
          <a:bodyPr lIns="108000" tIns="36000" rIns="108000" bIns="72000" anchor="ctr" anchorCtr="0"/>
          <a:lstStyle>
            <a:defPPr>
              <a:defRPr lang="ru-RU"/>
            </a:defPPr>
            <a:lvl1pPr algn="r" eaLnBrk="1" hangingPunct="1">
              <a:defRPr sz="3600" b="1" baseline="0">
                <a:latin typeface="Futura New bold"/>
                <a:ea typeface="+mj-ea"/>
                <a:cs typeface="Arial" pitchFamily="34" charset="0"/>
              </a:defRPr>
            </a:lvl1pPr>
            <a:lvl2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2pPr>
            <a:lvl3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3pPr>
            <a:lvl4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4pPr>
            <a:lvl5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/>
            <a:r>
              <a:rPr lang="ru-RU" sz="2400" dirty="0" smtClean="0">
                <a:solidFill>
                  <a:srgbClr val="262626"/>
                </a:solidFill>
                <a:latin typeface="+mj-lt"/>
              </a:rPr>
              <a:t>сегодня</a:t>
            </a:r>
            <a:endParaRPr lang="ru-RU" sz="2400" dirty="0">
              <a:solidFill>
                <a:srgbClr val="262626"/>
              </a:solidFill>
              <a:latin typeface="+mj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3432" y="1052736"/>
            <a:ext cx="63594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62626"/>
                </a:solidFill>
                <a:latin typeface="+mj-lt"/>
              </a:rPr>
              <a:t>Универсальный коммерческий банк </a:t>
            </a:r>
            <a:r>
              <a:rPr lang="ru-RU" sz="1400" b="1" dirty="0" smtClean="0">
                <a:solidFill>
                  <a:srgbClr val="262626"/>
                </a:solidFill>
                <a:latin typeface="+mj-lt"/>
              </a:rPr>
              <a:t>ТОП-50</a:t>
            </a:r>
            <a:endParaRPr lang="ru-RU" sz="1400" b="1" dirty="0">
              <a:latin typeface="+mj-lt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983432" y="1589891"/>
            <a:ext cx="63594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62626"/>
                </a:solidFill>
                <a:latin typeface="+mj-lt"/>
              </a:rPr>
              <a:t>Группа </a:t>
            </a:r>
            <a:r>
              <a:rPr lang="ru-RU" sz="1400" b="1" dirty="0" smtClean="0">
                <a:solidFill>
                  <a:srgbClr val="262626"/>
                </a:solidFill>
                <a:latin typeface="+mj-lt"/>
              </a:rPr>
              <a:t>АФК «Система»</a:t>
            </a:r>
            <a:endParaRPr lang="ru-RU" sz="1400" b="1" dirty="0">
              <a:latin typeface="+mj-lt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983432" y="2112853"/>
            <a:ext cx="63594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62626"/>
                </a:solidFill>
                <a:latin typeface="+mj-lt"/>
              </a:rPr>
              <a:t>Более </a:t>
            </a:r>
            <a:r>
              <a:rPr lang="ru-RU" sz="1400" b="1" dirty="0" smtClean="0">
                <a:solidFill>
                  <a:srgbClr val="262626"/>
                </a:solidFill>
                <a:latin typeface="+mj-lt"/>
              </a:rPr>
              <a:t>25 лет </a:t>
            </a:r>
            <a:r>
              <a:rPr lang="ru-RU" sz="1400" dirty="0" smtClean="0">
                <a:solidFill>
                  <a:srgbClr val="262626"/>
                </a:solidFill>
                <a:latin typeface="+mj-lt"/>
              </a:rPr>
              <a:t>на российском и международном рынке</a:t>
            </a:r>
            <a:endParaRPr lang="ru-RU" sz="1400" b="1" dirty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83432" y="2667431"/>
            <a:ext cx="63594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62626"/>
                </a:solidFill>
                <a:latin typeface="+mj-lt"/>
              </a:rPr>
              <a:t>Чистая прибыль </a:t>
            </a:r>
            <a:r>
              <a:rPr lang="ru-RU" sz="1400" b="1" dirty="0" smtClean="0">
                <a:solidFill>
                  <a:srgbClr val="262626"/>
                </a:solidFill>
                <a:latin typeface="+mj-lt"/>
              </a:rPr>
              <a:t>3,1 млрд. рублей </a:t>
            </a:r>
            <a:r>
              <a:rPr lang="ru-RU" sz="1400" dirty="0" smtClean="0">
                <a:solidFill>
                  <a:srgbClr val="262626"/>
                </a:solidFill>
                <a:latin typeface="+mj-lt"/>
              </a:rPr>
              <a:t>за 9 мес. 2018 года </a:t>
            </a:r>
            <a:endParaRPr lang="ru-RU" sz="1400" b="1" dirty="0">
              <a:latin typeface="+mj-lt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504231" y="1176749"/>
            <a:ext cx="5760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D12D25"/>
              </a:buClr>
              <a:buSzPct val="300000"/>
              <a:buFont typeface="Wingdings" panose="05000000000000000000" pitchFamily="2" charset="2"/>
              <a:buChar char="ü"/>
            </a:pPr>
            <a:r>
              <a:rPr lang="ru-RU" sz="1600" b="1" dirty="0" smtClean="0">
                <a:latin typeface="+mj-lt"/>
              </a:rPr>
              <a:t> </a:t>
            </a:r>
            <a:endParaRPr lang="ru-RU" sz="1600" b="1" dirty="0">
              <a:latin typeface="+mj-lt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490745" y="1731327"/>
            <a:ext cx="5760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D12D25"/>
              </a:buClr>
              <a:buSzPct val="300000"/>
              <a:buFont typeface="Wingdings" panose="05000000000000000000" pitchFamily="2" charset="2"/>
              <a:buChar char="ü"/>
            </a:pPr>
            <a:r>
              <a:rPr lang="ru-RU" sz="1600" b="1" dirty="0" smtClean="0">
                <a:latin typeface="+mj-lt"/>
              </a:rPr>
              <a:t> </a:t>
            </a:r>
            <a:endParaRPr lang="ru-RU" sz="1600" b="1" dirty="0">
              <a:latin typeface="+mj-lt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490745" y="2256869"/>
            <a:ext cx="5760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D12D25"/>
              </a:buClr>
              <a:buSzPct val="300000"/>
              <a:buFont typeface="Wingdings" panose="05000000000000000000" pitchFamily="2" charset="2"/>
              <a:buChar char="ü"/>
            </a:pPr>
            <a:r>
              <a:rPr lang="ru-RU" sz="1600" b="1" dirty="0" smtClean="0">
                <a:latin typeface="+mj-lt"/>
              </a:rPr>
              <a:t> </a:t>
            </a:r>
            <a:endParaRPr lang="ru-RU" sz="1600" b="1" dirty="0">
              <a:latin typeface="+mj-lt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90745" y="2811447"/>
            <a:ext cx="5760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D12D25"/>
              </a:buClr>
              <a:buSzPct val="300000"/>
              <a:buFont typeface="Wingdings" panose="05000000000000000000" pitchFamily="2" charset="2"/>
              <a:buChar char="ü"/>
            </a:pPr>
            <a:r>
              <a:rPr lang="ru-RU" sz="1600" b="1" dirty="0" smtClean="0">
                <a:latin typeface="+mj-lt"/>
              </a:rPr>
              <a:t> </a:t>
            </a:r>
            <a:endParaRPr lang="ru-RU" sz="1600" b="1" dirty="0">
              <a:latin typeface="+mj-lt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6487240" y="3994835"/>
            <a:ext cx="63594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62626"/>
                </a:solidFill>
                <a:latin typeface="+mj-lt"/>
              </a:rPr>
              <a:t>Глубокая экспертиза в </a:t>
            </a:r>
            <a:r>
              <a:rPr lang="ru-RU" sz="1400" b="1" dirty="0" smtClean="0">
                <a:solidFill>
                  <a:srgbClr val="262626"/>
                </a:solidFill>
                <a:latin typeface="+mj-lt"/>
              </a:rPr>
              <a:t>кредитовании реального сектора</a:t>
            </a:r>
            <a:endParaRPr lang="ru-RU" sz="1400" b="1" dirty="0">
              <a:latin typeface="+mj-lt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6484839" y="4531990"/>
            <a:ext cx="63594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262626"/>
                </a:solidFill>
                <a:latin typeface="+mj-lt"/>
              </a:rPr>
              <a:t>Транзакционные решения </a:t>
            </a:r>
            <a:r>
              <a:rPr lang="ru-RU" sz="1400" dirty="0" smtClean="0">
                <a:solidFill>
                  <a:srgbClr val="262626"/>
                </a:solidFill>
                <a:latin typeface="+mj-lt"/>
              </a:rPr>
              <a:t>любой сложности</a:t>
            </a:r>
            <a:endParaRPr lang="ru-RU" sz="1400" dirty="0">
              <a:latin typeface="+mj-lt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6539307" y="4930939"/>
            <a:ext cx="56706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62626"/>
                </a:solidFill>
              </a:rPr>
              <a:t>Работа с </a:t>
            </a:r>
            <a:r>
              <a:rPr lang="ru-RU" sz="1400" b="1" dirty="0" smtClean="0">
                <a:solidFill>
                  <a:srgbClr val="262626"/>
                </a:solidFill>
              </a:rPr>
              <a:t>холдингами, группами компаний </a:t>
            </a:r>
            <a:r>
              <a:rPr lang="ru-RU" sz="1400" dirty="0" smtClean="0">
                <a:solidFill>
                  <a:srgbClr val="262626"/>
                </a:solidFill>
              </a:rPr>
              <a:t>и</a:t>
            </a:r>
            <a:r>
              <a:rPr lang="ru-RU" sz="1400" b="1" dirty="0" smtClean="0">
                <a:solidFill>
                  <a:srgbClr val="262626"/>
                </a:solidFill>
              </a:rPr>
              <a:t> транснациональными корпорациями</a:t>
            </a:r>
            <a:endParaRPr lang="ru-RU" sz="1400" b="1" dirty="0"/>
          </a:p>
        </p:txBody>
      </p:sp>
      <p:sp>
        <p:nvSpPr>
          <p:cNvPr id="83" name="Прямоугольник 82"/>
          <p:cNvSpPr/>
          <p:nvPr/>
        </p:nvSpPr>
        <p:spPr>
          <a:xfrm>
            <a:off x="6484839" y="5609530"/>
            <a:ext cx="63594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262626"/>
                </a:solidFill>
                <a:latin typeface="+mj-lt"/>
              </a:rPr>
              <a:t>Широкая сеть </a:t>
            </a:r>
            <a:r>
              <a:rPr lang="ru-RU" sz="1400" dirty="0" smtClean="0">
                <a:solidFill>
                  <a:srgbClr val="262626"/>
                </a:solidFill>
                <a:latin typeface="+mj-lt"/>
              </a:rPr>
              <a:t>обслуживания и </a:t>
            </a:r>
            <a:r>
              <a:rPr lang="ru-RU" sz="1400" b="1" dirty="0" smtClean="0">
                <a:solidFill>
                  <a:srgbClr val="262626"/>
                </a:solidFill>
                <a:latin typeface="+mj-lt"/>
              </a:rPr>
              <a:t>поддержка 24/7 </a:t>
            </a:r>
            <a:endParaRPr lang="ru-RU" sz="1400" b="1" dirty="0">
              <a:latin typeface="+mj-lt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6017295" y="4118848"/>
            <a:ext cx="5760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D12D25"/>
              </a:buClr>
              <a:buSzPct val="300000"/>
              <a:buFont typeface="Wingdings" panose="05000000000000000000" pitchFamily="2" charset="2"/>
              <a:buChar char="ü"/>
            </a:pPr>
            <a:r>
              <a:rPr lang="ru-RU" sz="1600" b="1" dirty="0" smtClean="0">
                <a:latin typeface="+mj-lt"/>
              </a:rPr>
              <a:t> </a:t>
            </a:r>
            <a:endParaRPr lang="ru-RU" sz="1600" b="1" dirty="0">
              <a:latin typeface="+mj-lt"/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6003809" y="4673426"/>
            <a:ext cx="5760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D12D25"/>
              </a:buClr>
              <a:buSzPct val="300000"/>
              <a:buFont typeface="Wingdings" panose="05000000000000000000" pitchFamily="2" charset="2"/>
              <a:buChar char="ü"/>
            </a:pPr>
            <a:r>
              <a:rPr lang="ru-RU" sz="1600" b="1" dirty="0" smtClean="0">
                <a:latin typeface="+mj-lt"/>
              </a:rPr>
              <a:t> </a:t>
            </a:r>
            <a:endParaRPr lang="ru-RU" sz="1600" b="1" dirty="0">
              <a:latin typeface="+mj-lt"/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6003809" y="5198968"/>
            <a:ext cx="5760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D12D25"/>
              </a:buClr>
              <a:buSzPct val="300000"/>
              <a:buFont typeface="Wingdings" panose="05000000000000000000" pitchFamily="2" charset="2"/>
              <a:buChar char="ü"/>
            </a:pPr>
            <a:r>
              <a:rPr lang="ru-RU" sz="1600" b="1" dirty="0" smtClean="0">
                <a:latin typeface="+mj-lt"/>
              </a:rPr>
              <a:t> </a:t>
            </a:r>
            <a:endParaRPr lang="ru-RU" sz="1600" b="1" dirty="0">
              <a:latin typeface="+mj-lt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6003809" y="5753546"/>
            <a:ext cx="5760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D12D25"/>
              </a:buClr>
              <a:buSzPct val="300000"/>
              <a:buFont typeface="Wingdings" panose="05000000000000000000" pitchFamily="2" charset="2"/>
              <a:buChar char="ü"/>
            </a:pPr>
            <a:r>
              <a:rPr lang="ru-RU" sz="1600" b="1" dirty="0" smtClean="0">
                <a:latin typeface="+mj-lt"/>
              </a:rPr>
              <a:t> </a:t>
            </a:r>
            <a:endParaRPr lang="ru-RU" sz="1600" b="1" dirty="0">
              <a:latin typeface="+mj-lt"/>
            </a:endParaRPr>
          </a:p>
        </p:txBody>
      </p:sp>
      <p:graphicFrame>
        <p:nvGraphicFramePr>
          <p:cNvPr id="88" name="Диаграмма 87"/>
          <p:cNvGraphicFramePr>
            <a:graphicFrameLocks/>
          </p:cNvGraphicFramePr>
          <p:nvPr>
            <p:extLst/>
          </p:nvPr>
        </p:nvGraphicFramePr>
        <p:xfrm>
          <a:off x="623888" y="3495039"/>
          <a:ext cx="3103821" cy="32172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0" name="Прямоугольник 89"/>
          <p:cNvSpPr/>
          <p:nvPr/>
        </p:nvSpPr>
        <p:spPr>
          <a:xfrm>
            <a:off x="335360" y="3329164"/>
            <a:ext cx="1980000" cy="315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>
              <a:spcBef>
                <a:spcPts val="1200"/>
              </a:spcBef>
            </a:pPr>
            <a:r>
              <a:rPr lang="ru-RU" b="1" dirty="0" smtClean="0">
                <a:solidFill>
                  <a:srgbClr val="C00000"/>
                </a:solidFill>
                <a:latin typeface="+mj-lt"/>
                <a:cs typeface="Arial" charset="0"/>
              </a:rPr>
              <a:t>Акционеры</a:t>
            </a:r>
            <a:endParaRPr lang="ru-RU" b="1" dirty="0">
              <a:solidFill>
                <a:srgbClr val="C00000"/>
              </a:solidFill>
              <a:latin typeface="+mj-lt"/>
              <a:cs typeface="Arial" charset="0"/>
            </a:endParaRPr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>
            <a:off x="3431704" y="5022209"/>
            <a:ext cx="1770709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93" name="Рисунок 9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4498" y="3877391"/>
            <a:ext cx="1028473" cy="694219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09539" y="5176144"/>
            <a:ext cx="1338389" cy="551515"/>
          </a:xfrm>
          <a:prstGeom prst="rect">
            <a:avLst/>
          </a:prstGeom>
          <a:effectLst>
            <a:softEdge rad="0"/>
          </a:effectLst>
        </p:spPr>
      </p:pic>
      <p:sp>
        <p:nvSpPr>
          <p:cNvPr id="14" name="Прямоугольник 13"/>
          <p:cNvSpPr/>
          <p:nvPr/>
        </p:nvSpPr>
        <p:spPr>
          <a:xfrm>
            <a:off x="4469519" y="4407495"/>
            <a:ext cx="73289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>
                <a:solidFill>
                  <a:srgbClr val="D12D25"/>
                </a:solidFill>
                <a:latin typeface="+mj-lt"/>
              </a:rPr>
              <a:t>B</a:t>
            </a:r>
            <a:r>
              <a:rPr lang="en-US" sz="2400" b="1" dirty="0">
                <a:solidFill>
                  <a:srgbClr val="D12D25"/>
                </a:solidFill>
                <a:latin typeface="+mj-lt"/>
              </a:rPr>
              <a:t>B-</a:t>
            </a:r>
            <a:endParaRPr lang="ru-RU" sz="2400" b="1" dirty="0">
              <a:solidFill>
                <a:srgbClr val="D12D25"/>
              </a:solidFill>
              <a:latin typeface="+mj-lt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4169267" y="5559623"/>
            <a:ext cx="126348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b="1" dirty="0" err="1">
                <a:solidFill>
                  <a:srgbClr val="D12D25"/>
                </a:solidFill>
                <a:latin typeface="+mj-lt"/>
              </a:rPr>
              <a:t>ruBBB</a:t>
            </a:r>
            <a:r>
              <a:rPr lang="en-US" sz="2400" b="1" dirty="0">
                <a:solidFill>
                  <a:srgbClr val="D12D25"/>
                </a:solidFill>
                <a:latin typeface="+mj-lt"/>
              </a:rPr>
              <a:t>-</a:t>
            </a:r>
            <a:endParaRPr lang="ru-RU" sz="2400" b="1" dirty="0">
              <a:solidFill>
                <a:srgbClr val="D12D25"/>
              </a:solidFill>
              <a:latin typeface="+mj-lt"/>
            </a:endParaRP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>
            <a:off x="3935760" y="6165850"/>
            <a:ext cx="206314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7" name="Прямая соединительная линия 96"/>
          <p:cNvCxnSpPr/>
          <p:nvPr/>
        </p:nvCxnSpPr>
        <p:spPr>
          <a:xfrm>
            <a:off x="243855" y="3212976"/>
            <a:ext cx="3438063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8" name="Прямая соединительная линия 97"/>
          <p:cNvCxnSpPr/>
          <p:nvPr/>
        </p:nvCxnSpPr>
        <p:spPr>
          <a:xfrm>
            <a:off x="9769177" y="3717032"/>
            <a:ext cx="2087463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9" name="Прямоугольник 98"/>
          <p:cNvSpPr/>
          <p:nvPr/>
        </p:nvSpPr>
        <p:spPr>
          <a:xfrm>
            <a:off x="8472264" y="332656"/>
            <a:ext cx="3095849" cy="315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r">
              <a:spcBef>
                <a:spcPts val="1200"/>
              </a:spcBef>
            </a:pPr>
            <a:r>
              <a:rPr lang="ru-RU" sz="1600" b="1" dirty="0" smtClean="0">
                <a:solidFill>
                  <a:srgbClr val="C00000"/>
                </a:solidFill>
                <a:latin typeface="+mj-lt"/>
                <a:cs typeface="Arial" charset="0"/>
              </a:rPr>
              <a:t>Ключевые показатели</a:t>
            </a:r>
            <a:endParaRPr lang="ru-RU" sz="1600" b="1" dirty="0">
              <a:solidFill>
                <a:srgbClr val="C00000"/>
              </a:solidFill>
              <a:latin typeface="+mj-lt"/>
              <a:cs typeface="Arial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6831551" y="1038685"/>
            <a:ext cx="2078755" cy="844638"/>
          </a:xfrm>
          <a:prstGeom prst="roundRect">
            <a:avLst/>
          </a:prstGeom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1" name="Прямоугольник 100"/>
          <p:cNvSpPr/>
          <p:nvPr/>
        </p:nvSpPr>
        <p:spPr>
          <a:xfrm>
            <a:off x="6831551" y="1042851"/>
            <a:ext cx="108012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262626"/>
                </a:solidFill>
                <a:latin typeface="+mj-lt"/>
              </a:rPr>
              <a:t>АКТИВЫ</a:t>
            </a:r>
          </a:p>
        </p:txBody>
      </p:sp>
      <p:sp>
        <p:nvSpPr>
          <p:cNvPr id="102" name="Прямоугольник 101"/>
          <p:cNvSpPr/>
          <p:nvPr/>
        </p:nvSpPr>
        <p:spPr>
          <a:xfrm>
            <a:off x="6975567" y="1471278"/>
            <a:ext cx="197706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2200" b="1" dirty="0" smtClean="0">
                <a:solidFill>
                  <a:srgbClr val="D12D25"/>
                </a:solidFill>
                <a:latin typeface="+mj-lt"/>
              </a:rPr>
              <a:t>148</a:t>
            </a:r>
            <a:r>
              <a:rPr lang="en-US" sz="2200" b="1" dirty="0" smtClean="0">
                <a:solidFill>
                  <a:srgbClr val="D12D25"/>
                </a:solidFill>
                <a:latin typeface="+mj-lt"/>
              </a:rPr>
              <a:t>,0</a:t>
            </a:r>
            <a:r>
              <a:rPr lang="ru-RU" sz="1400" b="1" dirty="0" smtClean="0">
                <a:solidFill>
                  <a:srgbClr val="262626"/>
                </a:solidFill>
                <a:latin typeface="+mj-lt"/>
              </a:rPr>
              <a:t> млрд. руб.</a:t>
            </a:r>
          </a:p>
        </p:txBody>
      </p:sp>
      <p:sp>
        <p:nvSpPr>
          <p:cNvPr id="104" name="Скругленный прямоугольник 103"/>
          <p:cNvSpPr/>
          <p:nvPr/>
        </p:nvSpPr>
        <p:spPr>
          <a:xfrm>
            <a:off x="6824788" y="2340629"/>
            <a:ext cx="2078755" cy="844638"/>
          </a:xfrm>
          <a:prstGeom prst="roundRect">
            <a:avLst/>
          </a:prstGeom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5" name="Прямоугольник 104"/>
          <p:cNvSpPr/>
          <p:nvPr/>
        </p:nvSpPr>
        <p:spPr>
          <a:xfrm>
            <a:off x="6719573" y="2344795"/>
            <a:ext cx="133494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262626"/>
                </a:solidFill>
                <a:latin typeface="+mj-lt"/>
              </a:rPr>
              <a:t>КАПИТАЛ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7104112" y="2773222"/>
            <a:ext cx="179460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200" b="1" dirty="0" smtClean="0">
                <a:solidFill>
                  <a:srgbClr val="D12D25"/>
                </a:solidFill>
                <a:latin typeface="+mj-lt"/>
              </a:rPr>
              <a:t>22,4</a:t>
            </a:r>
            <a:r>
              <a:rPr lang="ru-RU" sz="1400" b="1" dirty="0" smtClean="0">
                <a:solidFill>
                  <a:srgbClr val="262626"/>
                </a:solidFill>
                <a:latin typeface="+mj-lt"/>
              </a:rPr>
              <a:t> млрд. руб.</a:t>
            </a:r>
          </a:p>
        </p:txBody>
      </p:sp>
      <p:sp>
        <p:nvSpPr>
          <p:cNvPr id="107" name="Скругленный прямоугольник 106"/>
          <p:cNvSpPr/>
          <p:nvPr/>
        </p:nvSpPr>
        <p:spPr>
          <a:xfrm>
            <a:off x="9398984" y="2320920"/>
            <a:ext cx="2078755" cy="844638"/>
          </a:xfrm>
          <a:prstGeom prst="roundRect">
            <a:avLst/>
          </a:prstGeom>
          <a:ln w="952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8" name="Прямоугольник 107"/>
          <p:cNvSpPr/>
          <p:nvPr/>
        </p:nvSpPr>
        <p:spPr>
          <a:xfrm>
            <a:off x="9288725" y="2259151"/>
            <a:ext cx="78196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200" b="1" dirty="0" smtClean="0">
                <a:solidFill>
                  <a:srgbClr val="262626"/>
                </a:solidFill>
                <a:latin typeface="+mj-lt"/>
              </a:rPr>
              <a:t>Н1</a:t>
            </a:r>
          </a:p>
        </p:txBody>
      </p:sp>
      <p:sp>
        <p:nvSpPr>
          <p:cNvPr id="109" name="Прямоугольник 108"/>
          <p:cNvSpPr/>
          <p:nvPr/>
        </p:nvSpPr>
        <p:spPr>
          <a:xfrm>
            <a:off x="9678308" y="2753513"/>
            <a:ext cx="179460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2200" b="1" dirty="0" smtClean="0">
                <a:solidFill>
                  <a:srgbClr val="D12D25"/>
                </a:solidFill>
                <a:latin typeface="+mj-lt"/>
              </a:rPr>
              <a:t>14,3</a:t>
            </a:r>
            <a:r>
              <a:rPr lang="ru-RU" sz="1400" b="1" dirty="0" smtClean="0">
                <a:solidFill>
                  <a:srgbClr val="262626"/>
                </a:solidFill>
                <a:latin typeface="+mj-lt"/>
              </a:rPr>
              <a:t>%</a:t>
            </a:r>
          </a:p>
        </p:txBody>
      </p:sp>
      <p:cxnSp>
        <p:nvCxnSpPr>
          <p:cNvPr id="111" name="Прямая соединительная линия 110"/>
          <p:cNvCxnSpPr/>
          <p:nvPr/>
        </p:nvCxnSpPr>
        <p:spPr>
          <a:xfrm>
            <a:off x="6096000" y="620688"/>
            <a:ext cx="2058741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Скругленный прямоугольник 2"/>
          <p:cNvSpPr/>
          <p:nvPr/>
        </p:nvSpPr>
        <p:spPr>
          <a:xfrm>
            <a:off x="776840" y="6400800"/>
            <a:ext cx="206592" cy="19655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776840" y="6021288"/>
            <a:ext cx="206592" cy="1965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2" name="Рисунок 5" descr="MTSBank_rus-13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0745" y="240645"/>
            <a:ext cx="2113969" cy="44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02419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5" descr="MTSBank_rus-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0745" y="240645"/>
            <a:ext cx="2113969" cy="44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1971940" y="1141198"/>
            <a:ext cx="814444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dirty="0">
                <a:solidFill>
                  <a:srgbClr val="262626"/>
                </a:solidFill>
                <a:latin typeface="Futura Medium" charset="0"/>
                <a:ea typeface="Futura Medium" charset="0"/>
                <a:cs typeface="Futura Medium" charset="0"/>
              </a:rPr>
              <a:t>Побеждайте с факторингом </a:t>
            </a:r>
            <a:br>
              <a:rPr lang="ru-RU" sz="3000" b="1" dirty="0">
                <a:solidFill>
                  <a:srgbClr val="262626"/>
                </a:solidFill>
                <a:latin typeface="Futura Medium" charset="0"/>
                <a:ea typeface="Futura Medium" charset="0"/>
                <a:cs typeface="Futura Medium" charset="0"/>
              </a:rPr>
            </a:br>
            <a:r>
              <a:rPr lang="ru-RU" sz="3000" b="1" dirty="0">
                <a:solidFill>
                  <a:srgbClr val="262626"/>
                </a:solidFill>
                <a:latin typeface="Futura Medium" charset="0"/>
                <a:ea typeface="Futura Medium" charset="0"/>
                <a:cs typeface="Futura Medium" charset="0"/>
              </a:rPr>
              <a:t>от МТС Банка</a:t>
            </a:r>
            <a:r>
              <a:rPr lang="ru-RU" sz="3000" b="1" dirty="0" smtClean="0">
                <a:solidFill>
                  <a:srgbClr val="262626"/>
                </a:solidFill>
                <a:latin typeface="Futura Medium" charset="0"/>
                <a:ea typeface="Futura Medium" charset="0"/>
                <a:cs typeface="Futura Medium" charset="0"/>
              </a:rPr>
              <a:t>!</a:t>
            </a:r>
            <a:r>
              <a:rPr lang="ru-RU" sz="3000" b="1" dirty="0" smtClean="0">
                <a:solidFill>
                  <a:srgbClr val="FFFFFF">
                    <a:lumMod val="65000"/>
                  </a:srgbClr>
                </a:solidFill>
                <a:latin typeface="Futura Medium" charset="0"/>
                <a:ea typeface="Futura Medium" charset="0"/>
                <a:cs typeface="Futura Medium" charset="0"/>
              </a:rPr>
              <a:t>*</a:t>
            </a:r>
            <a:endParaRPr lang="ru-RU" sz="3000" b="1" dirty="0">
              <a:solidFill>
                <a:srgbClr val="FFFFFF">
                  <a:lumMod val="65000"/>
                </a:srgbClr>
              </a:solidFill>
              <a:latin typeface="Futura Medium" charset="0"/>
              <a:ea typeface="Futura Medium" charset="0"/>
              <a:cs typeface="Futura Medium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978492" y="5267086"/>
            <a:ext cx="8157933" cy="804225"/>
          </a:xfrm>
          <a:prstGeom prst="roundRect">
            <a:avLst>
              <a:gd name="adj" fmla="val 9377"/>
            </a:avLst>
          </a:prstGeom>
          <a:noFill/>
          <a:ln w="12700">
            <a:solidFill>
              <a:srgbClr val="DEDE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063552" y="5350532"/>
            <a:ext cx="316951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/>
              <a:t>Климов Виталий </a:t>
            </a:r>
          </a:p>
          <a:p>
            <a:r>
              <a:rPr lang="ru-RU" sz="1600" u="sng" dirty="0"/>
              <a:t>Рыжов Владислав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6414124" y="2452347"/>
            <a:ext cx="3756291" cy="1753298"/>
          </a:xfrm>
          <a:prstGeom prst="roundRect">
            <a:avLst>
              <a:gd name="adj" fmla="val 2349"/>
            </a:avLst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607829" y="2793295"/>
            <a:ext cx="4042121" cy="1036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800"/>
              </a:spcAft>
              <a:buClr>
                <a:srgbClr val="EA222D"/>
              </a:buClr>
              <a:buSzPct val="50000"/>
              <a:buFont typeface=".AppleSystemUIFont" charset="-120"/>
              <a:buChar char="●"/>
            </a:pPr>
            <a:r>
              <a:rPr lang="ru-RU" sz="1600" b="1" dirty="0">
                <a:solidFill>
                  <a:srgbClr val="262626"/>
                </a:solidFill>
                <a:latin typeface="Futura PT Book" charset="0"/>
                <a:ea typeface="Futura PT Book" charset="0"/>
                <a:cs typeface="Futura PT Book" charset="0"/>
              </a:rPr>
              <a:t>от 11%</a:t>
            </a:r>
            <a:r>
              <a:rPr lang="ru-RU" sz="1600" dirty="0">
                <a:solidFill>
                  <a:srgbClr val="262626"/>
                </a:solidFill>
                <a:latin typeface="Futura PT Book" charset="0"/>
                <a:ea typeface="Futura PT Book" charset="0"/>
                <a:cs typeface="Futura PT Book" charset="0"/>
              </a:rPr>
              <a:t> годовых без НДС</a:t>
            </a:r>
            <a:endParaRPr lang="ru-RU" sz="1600" b="1" dirty="0">
              <a:solidFill>
                <a:srgbClr val="262626"/>
              </a:solidFill>
              <a:latin typeface="Futura PT Book" charset="0"/>
              <a:ea typeface="Futura PT Book" charset="0"/>
              <a:cs typeface="Futura PT Book" charset="0"/>
            </a:endParaRPr>
          </a:p>
          <a:p>
            <a:pPr marL="285750" indent="-285750">
              <a:spcAft>
                <a:spcPts val="800"/>
              </a:spcAft>
              <a:buClr>
                <a:srgbClr val="EA222D"/>
              </a:buClr>
              <a:buSzPct val="50000"/>
              <a:buFont typeface=".AppleSystemUIFont" charset="-120"/>
              <a:buChar char="●"/>
            </a:pPr>
            <a:r>
              <a:rPr lang="ru-RU" sz="1600" b="1" dirty="0">
                <a:solidFill>
                  <a:srgbClr val="262626"/>
                </a:solidFill>
                <a:latin typeface="Futura PT Book" charset="0"/>
                <a:ea typeface="Futura PT Book" charset="0"/>
                <a:cs typeface="Futura PT Book" charset="0"/>
              </a:rPr>
              <a:t>до 100%</a:t>
            </a:r>
            <a:r>
              <a:rPr lang="ru-RU" sz="1600" dirty="0">
                <a:solidFill>
                  <a:srgbClr val="262626"/>
                </a:solidFill>
                <a:latin typeface="Futura PT Book" charset="0"/>
                <a:ea typeface="Futura PT Book" charset="0"/>
                <a:cs typeface="Futura PT Book" charset="0"/>
              </a:rPr>
              <a:t> от суммы поставки</a:t>
            </a:r>
            <a:endParaRPr lang="ru-RU" sz="1600" b="1" dirty="0">
              <a:solidFill>
                <a:srgbClr val="262626"/>
              </a:solidFill>
              <a:latin typeface="Futura PT Book" charset="0"/>
              <a:ea typeface="Futura PT Book" charset="0"/>
              <a:cs typeface="Futura PT Book" charset="0"/>
            </a:endParaRPr>
          </a:p>
          <a:p>
            <a:pPr marL="285750" indent="-285750">
              <a:spcAft>
                <a:spcPts val="800"/>
              </a:spcAft>
              <a:buClr>
                <a:srgbClr val="EA222D"/>
              </a:buClr>
              <a:buSzPct val="50000"/>
              <a:buFont typeface=".AppleSystemUIFont" charset="-120"/>
              <a:buChar char="●"/>
            </a:pPr>
            <a:r>
              <a:rPr lang="ru-RU" sz="1600" dirty="0">
                <a:solidFill>
                  <a:srgbClr val="262626"/>
                </a:solidFill>
                <a:latin typeface="Futura PT Book" charset="0"/>
                <a:ea typeface="Futura PT Book" charset="0"/>
                <a:cs typeface="Futura PT Book" charset="0"/>
              </a:rPr>
              <a:t>срок </a:t>
            </a:r>
            <a:r>
              <a:rPr lang="ru-RU" sz="1600" b="1" dirty="0">
                <a:solidFill>
                  <a:srgbClr val="262626"/>
                </a:solidFill>
                <a:latin typeface="Futura PT Book" charset="0"/>
                <a:ea typeface="Futura PT Book" charset="0"/>
                <a:cs typeface="Futura PT Book" charset="0"/>
              </a:rPr>
              <a:t>до 180 дней</a:t>
            </a:r>
            <a:endParaRPr lang="ru-RU" sz="1600" dirty="0">
              <a:solidFill>
                <a:srgbClr val="262626"/>
              </a:solidFill>
              <a:latin typeface="Futura PT Book" charset="0"/>
              <a:ea typeface="Futura PT Book" charset="0"/>
              <a:cs typeface="Futura PT Book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991216" y="2430508"/>
            <a:ext cx="4052945" cy="1796976"/>
          </a:xfrm>
          <a:prstGeom prst="roundRect">
            <a:avLst>
              <a:gd name="adj" fmla="val 4219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194597" y="2898877"/>
            <a:ext cx="357417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FFFFFF"/>
                </a:solidFill>
                <a:latin typeface="Futura PT Book" panose="020B0502020204020303" pitchFamily="34" charset="0"/>
              </a:rPr>
              <a:t>Факторинг — финансирование </a:t>
            </a:r>
            <a:br>
              <a:rPr lang="ru-RU" sz="1600" b="1" dirty="0">
                <a:solidFill>
                  <a:srgbClr val="FFFFFF"/>
                </a:solidFill>
                <a:latin typeface="Futura PT Book" panose="020B0502020204020303" pitchFamily="34" charset="0"/>
              </a:rPr>
            </a:br>
            <a:r>
              <a:rPr lang="ru-RU" sz="1600" b="1" dirty="0">
                <a:solidFill>
                  <a:srgbClr val="FFFFFF"/>
                </a:solidFill>
                <a:latin typeface="Futura PT Book" panose="020B0502020204020303" pitchFamily="34" charset="0"/>
              </a:rPr>
              <a:t>под уступку дебиторской</a:t>
            </a:r>
            <a:r>
              <a:rPr lang="en-US" sz="1600" b="1" dirty="0">
                <a:solidFill>
                  <a:srgbClr val="FFFFFF"/>
                </a:solidFill>
                <a:latin typeface="Futura PT Book" panose="020B0502020204020303" pitchFamily="34" charset="0"/>
              </a:rPr>
              <a:t> </a:t>
            </a:r>
            <a:r>
              <a:rPr lang="ru-RU" sz="1600" b="1" dirty="0">
                <a:solidFill>
                  <a:srgbClr val="FFFFFF"/>
                </a:solidFill>
                <a:latin typeface="Futura PT Book" panose="020B0502020204020303" pitchFamily="34" charset="0"/>
              </a:rPr>
              <a:t> задолженности</a:t>
            </a:r>
            <a:r>
              <a:rPr lang="en-US" sz="1600" b="1" dirty="0">
                <a:solidFill>
                  <a:srgbClr val="FFFFFF"/>
                </a:solidFill>
                <a:latin typeface="Futura PT Book" panose="020B0502020204020303" pitchFamily="34" charset="0"/>
              </a:rPr>
              <a:t> </a:t>
            </a:r>
            <a:r>
              <a:rPr lang="ru-RU" sz="1600" b="1" dirty="0">
                <a:solidFill>
                  <a:srgbClr val="FFFFFF"/>
                </a:solidFill>
                <a:latin typeface="Futura PT Book" panose="020B0502020204020303" pitchFamily="34" charset="0"/>
              </a:rPr>
              <a:t>на условиях:</a:t>
            </a:r>
            <a:endParaRPr lang="en-US" sz="1600" b="1" dirty="0">
              <a:solidFill>
                <a:srgbClr val="FFFFFF"/>
              </a:solidFill>
              <a:latin typeface="Futura PT Book" panose="020B0502020204020303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983432" y="4252258"/>
            <a:ext cx="9437827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300" dirty="0">
                <a:solidFill>
                  <a:srgbClr val="FFFFFF">
                    <a:lumMod val="65000"/>
                  </a:srgbClr>
                </a:solidFill>
                <a:latin typeface="Futura PT Book" charset="0"/>
                <a:ea typeface="Futura PT Book" charset="0"/>
                <a:cs typeface="Futura PT Book" charset="0"/>
              </a:rPr>
              <a:t>Срок  принятия решения Банком не более </a:t>
            </a:r>
            <a:r>
              <a:rPr lang="en-US" sz="1300" dirty="0">
                <a:solidFill>
                  <a:srgbClr val="FFFFFF">
                    <a:lumMod val="65000"/>
                  </a:srgbClr>
                </a:solidFill>
                <a:latin typeface="Futura PT Book" charset="0"/>
                <a:ea typeface="Futura PT Book" charset="0"/>
                <a:cs typeface="Futura PT Book" charset="0"/>
              </a:rPr>
              <a:t>2-</a:t>
            </a:r>
            <a:r>
              <a:rPr lang="ru-RU" sz="1300" dirty="0">
                <a:solidFill>
                  <a:srgbClr val="FFFFFF">
                    <a:lumMod val="65000"/>
                  </a:srgbClr>
                </a:solidFill>
                <a:latin typeface="Futura PT Book" charset="0"/>
                <a:ea typeface="Futura PT Book" charset="0"/>
                <a:cs typeface="Futura PT Book" charset="0"/>
              </a:rPr>
              <a:t>х дней при наличии вашего (проекта) контракта/условий тендер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885015" y="6253712"/>
            <a:ext cx="1736373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300">
                <a:solidFill>
                  <a:srgbClr val="FFFFFF">
                    <a:lumMod val="65000"/>
                  </a:srgbClr>
                </a:solidFill>
                <a:latin typeface="Futura PT Book" charset="0"/>
                <a:ea typeface="Futura PT Book" charset="0"/>
                <a:cs typeface="Futura PT Book" charset="0"/>
                <a:sym typeface="DIN Alternate"/>
              </a:rPr>
              <a:t>* Не является офертой</a:t>
            </a:r>
            <a:endParaRPr lang="en-US" sz="1300" dirty="0">
              <a:solidFill>
                <a:srgbClr val="FFFFFF">
                  <a:lumMod val="65000"/>
                </a:srgbClr>
              </a:solidFill>
              <a:latin typeface="Futura PT Book" charset="0"/>
              <a:ea typeface="Futura PT Book" charset="0"/>
              <a:cs typeface="Futura PT Book" charset="0"/>
              <a:sym typeface="DIN Alternate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233069" y="5350532"/>
            <a:ext cx="23267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+7 (</a:t>
            </a:r>
            <a:r>
              <a:rPr lang="en-US" sz="1600" dirty="0"/>
              <a:t>926) 123-91-25</a:t>
            </a:r>
            <a:endParaRPr lang="ru-RU" sz="1600" dirty="0"/>
          </a:p>
          <a:p>
            <a:r>
              <a:rPr lang="ru-RU" sz="1600" dirty="0"/>
              <a:t>+7 (929) 985-28-27</a:t>
            </a:r>
            <a:endParaRPr lang="ru-RU" sz="16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7802913" y="5350531"/>
            <a:ext cx="22632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u="sng" dirty="0">
                <a:hlinkClick r:id="rId3"/>
              </a:rPr>
              <a:t>vklimov@mtsbank.ru</a:t>
            </a:r>
            <a:endParaRPr lang="ru-RU" sz="1400" b="1" u="sng" dirty="0"/>
          </a:p>
          <a:p>
            <a:r>
              <a:rPr lang="ru-RU" sz="1400" b="1" u="sng" dirty="0">
                <a:hlinkClick r:id="rId4"/>
              </a:rPr>
              <a:t>VRyzhov@mtsbank.ru</a:t>
            </a:r>
            <a:endParaRPr lang="ru-RU" sz="1400" b="1" u="sng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7892" y="5598524"/>
            <a:ext cx="268650" cy="211187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7848" y="5547634"/>
            <a:ext cx="262077" cy="262077"/>
          </a:xfrm>
          <a:prstGeom prst="rect">
            <a:avLst/>
          </a:prstGeom>
        </p:spPr>
      </p:pic>
      <p:cxnSp>
        <p:nvCxnSpPr>
          <p:cNvPr id="17" name="Прямая соединительная линия 16"/>
          <p:cNvCxnSpPr/>
          <p:nvPr/>
        </p:nvCxnSpPr>
        <p:spPr>
          <a:xfrm>
            <a:off x="6973212" y="836712"/>
            <a:ext cx="5218788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5353476" y="2060848"/>
            <a:ext cx="6969424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0" y="6165304"/>
            <a:ext cx="6969424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983433" y="4544646"/>
            <a:ext cx="935185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300" dirty="0">
                <a:solidFill>
                  <a:srgbClr val="FFFFFF">
                    <a:lumMod val="65000"/>
                  </a:srgbClr>
                </a:solidFill>
                <a:latin typeface="Futura PT Book" charset="0"/>
                <a:ea typeface="Futura PT Book" charset="0"/>
                <a:cs typeface="Futura PT Book" charset="0"/>
              </a:rPr>
              <a:t>Узнайте подробнее о </a:t>
            </a:r>
            <a:r>
              <a:rPr lang="ru-RU" sz="1300" dirty="0" err="1">
                <a:solidFill>
                  <a:srgbClr val="FFFFFF">
                    <a:lumMod val="65000"/>
                  </a:srgbClr>
                </a:solidFill>
                <a:latin typeface="Futura PT Book" charset="0"/>
                <a:ea typeface="Futura PT Book" charset="0"/>
                <a:cs typeface="Futura PT Book" charset="0"/>
              </a:rPr>
              <a:t>факториновых</a:t>
            </a:r>
            <a:r>
              <a:rPr lang="ru-RU" sz="1300" dirty="0">
                <a:solidFill>
                  <a:srgbClr val="FFFFFF">
                    <a:lumMod val="65000"/>
                  </a:srgbClr>
                </a:solidFill>
                <a:latin typeface="Futura PT Book" charset="0"/>
                <a:ea typeface="Futura PT Book" charset="0"/>
                <a:cs typeface="Futura PT Book" charset="0"/>
              </a:rPr>
              <a:t> решениях и индивидуальных условиях для В</a:t>
            </a:r>
            <a:r>
              <a:rPr lang="ru-RU" sz="1300" dirty="0" smtClean="0">
                <a:solidFill>
                  <a:srgbClr val="FFFFFF">
                    <a:lumMod val="65000"/>
                  </a:srgbClr>
                </a:solidFill>
                <a:latin typeface="Futura PT Book" charset="0"/>
                <a:ea typeface="Futura PT Book" charset="0"/>
                <a:cs typeface="Futura PT Book" charset="0"/>
              </a:rPr>
              <a:t>ашей </a:t>
            </a:r>
            <a:r>
              <a:rPr lang="ru-RU" sz="1300" dirty="0">
                <a:solidFill>
                  <a:srgbClr val="FFFFFF">
                    <a:lumMod val="65000"/>
                  </a:srgbClr>
                </a:solidFill>
                <a:latin typeface="Futura PT Book" charset="0"/>
                <a:ea typeface="Futura PT Book" charset="0"/>
                <a:cs typeface="Futura PT Book" charset="0"/>
              </a:rPr>
              <a:t>компании у нашего консультанта</a:t>
            </a:r>
          </a:p>
        </p:txBody>
      </p:sp>
    </p:spTree>
    <p:extLst>
      <p:ext uri="{BB962C8B-B14F-4D97-AF65-F5344CB8AC3E}">
        <p14:creationId xmlns:p14="http://schemas.microsoft.com/office/powerpoint/2010/main" val="115636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уга 2"/>
          <p:cNvSpPr/>
          <p:nvPr/>
        </p:nvSpPr>
        <p:spPr>
          <a:xfrm rot="6581296">
            <a:off x="-3057320" y="-2411951"/>
            <a:ext cx="5112568" cy="5112568"/>
          </a:xfrm>
          <a:prstGeom prst="arc">
            <a:avLst>
              <a:gd name="adj1" fmla="val 14806373"/>
              <a:gd name="adj2" fmla="val 19736613"/>
            </a:avLst>
          </a:prstGeom>
          <a:ln>
            <a:solidFill>
              <a:srgbClr val="D02D2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5" descr="MTSBank_rus-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5360" y="764704"/>
            <a:ext cx="1362020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5520447" y="407793"/>
            <a:ext cx="6574284" cy="993545"/>
          </a:xfrm>
          <a:prstGeom prst="rect">
            <a:avLst/>
          </a:prstGeom>
        </p:spPr>
        <p:txBody>
          <a:bodyPr lIns="108000" tIns="36000" rIns="108000" bIns="72000" anchor="ctr" anchorCtr="0"/>
          <a:lstStyle>
            <a:defPPr>
              <a:defRPr lang="ru-RU"/>
            </a:defPPr>
            <a:lvl1pPr algn="r" eaLnBrk="1" hangingPunct="1">
              <a:defRPr sz="3600" b="1" baseline="0">
                <a:latin typeface="Futura New bold"/>
                <a:ea typeface="+mj-ea"/>
                <a:cs typeface="Arial" pitchFamily="34" charset="0"/>
              </a:defRPr>
            </a:lvl1pPr>
            <a:lvl2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2pPr>
            <a:lvl3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3pPr>
            <a:lvl4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4pPr>
            <a:lvl5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/>
            <a:r>
              <a:rPr lang="ru-RU" sz="2800" dirty="0" smtClean="0">
                <a:solidFill>
                  <a:srgbClr val="262626"/>
                </a:solidFill>
                <a:latin typeface="+mj-lt"/>
              </a:rPr>
              <a:t>Удобный инструмент для развития бизнеса</a:t>
            </a:r>
          </a:p>
          <a:p>
            <a:pPr algn="l"/>
            <a:endParaRPr lang="ru-RU" sz="2800" dirty="0">
              <a:solidFill>
                <a:srgbClr val="262626"/>
              </a:solidFill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278428" y="4411905"/>
            <a:ext cx="2991460" cy="369332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rtlCol="0">
            <a:spAutoFit/>
          </a:bodyPr>
          <a:lstStyle/>
          <a:p>
            <a:r>
              <a:rPr lang="ru-RU" dirty="0" smtClean="0"/>
              <a:t> ФАКТОРИНГ с регрессом</a:t>
            </a:r>
            <a:endParaRPr lang="ru-RU" dirty="0"/>
          </a:p>
        </p:txBody>
      </p:sp>
      <p:sp>
        <p:nvSpPr>
          <p:cNvPr id="8" name="Двойные круглые скобки 7"/>
          <p:cNvSpPr/>
          <p:nvPr/>
        </p:nvSpPr>
        <p:spPr>
          <a:xfrm>
            <a:off x="4338387" y="4411905"/>
            <a:ext cx="2931501" cy="369332"/>
          </a:xfrm>
          <a:prstGeom prst="bracketPair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704108" y="5047315"/>
            <a:ext cx="3008516" cy="369332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rtlCol="0">
            <a:spAutoFit/>
          </a:bodyPr>
          <a:lstStyle/>
          <a:p>
            <a:r>
              <a:rPr lang="ru-RU" dirty="0" smtClean="0"/>
              <a:t>ФАКТОРИНГ без регресса</a:t>
            </a:r>
            <a:endParaRPr lang="ru-RU" dirty="0"/>
          </a:p>
        </p:txBody>
      </p:sp>
      <p:sp>
        <p:nvSpPr>
          <p:cNvPr id="10" name="Двойные круглые скобки 9"/>
          <p:cNvSpPr/>
          <p:nvPr/>
        </p:nvSpPr>
        <p:spPr>
          <a:xfrm>
            <a:off x="8704108" y="5047315"/>
            <a:ext cx="3008516" cy="369332"/>
          </a:xfrm>
          <a:prstGeom prst="bracketPair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1858796" y="1259035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Овал 31"/>
          <p:cNvSpPr/>
          <p:nvPr/>
        </p:nvSpPr>
        <p:spPr>
          <a:xfrm>
            <a:off x="263352" y="2671981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Овал 32"/>
          <p:cNvSpPr/>
          <p:nvPr/>
        </p:nvSpPr>
        <p:spPr>
          <a:xfrm>
            <a:off x="1241315" y="2082182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Овал 33"/>
          <p:cNvSpPr/>
          <p:nvPr/>
        </p:nvSpPr>
        <p:spPr>
          <a:xfrm>
            <a:off x="2271467" y="265490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-99920" y="6453336"/>
            <a:ext cx="5218788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/>
          <p:cNvSpPr/>
          <p:nvPr/>
        </p:nvSpPr>
        <p:spPr>
          <a:xfrm>
            <a:off x="3752002" y="1590362"/>
            <a:ext cx="1586973" cy="4160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 smtClean="0">
                <a:solidFill>
                  <a:srgbClr val="C00000"/>
                </a:solidFill>
                <a:latin typeface="Arial"/>
              </a:rPr>
              <a:t>ФАКТОРИНГ -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232775" y="2058589"/>
            <a:ext cx="7556158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плексный продукт,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озволяющий Вашей компании получить оперативное </a:t>
            </a:r>
            <a:r>
              <a:rPr kumimoji="0" lang="ru-RU" sz="1400" b="0" i="0" u="none" strike="noStrike" kern="1200" cap="none" spc="0" normalizeH="0" noProof="0" dirty="0" err="1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еззалоговое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финансирование под уступку права денежного требования по осуществляемым поставкам, исключить риск неоплаты отгруженного товара, передать на аутсорсинг управление дебиторской задолженностью, улучшить качество своей финансовой отчетности, получить дополнительные конкурентные преимущества, а также существенно увеличить объемы продаж и коммерческой прибыли Вашего бизнеса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4295800" y="3659027"/>
            <a:ext cx="7416824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95733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уга 2"/>
          <p:cNvSpPr/>
          <p:nvPr/>
        </p:nvSpPr>
        <p:spPr>
          <a:xfrm rot="2253066">
            <a:off x="-3243230" y="4026873"/>
            <a:ext cx="5112568" cy="5112568"/>
          </a:xfrm>
          <a:prstGeom prst="arc">
            <a:avLst>
              <a:gd name="adj1" fmla="val 14858109"/>
              <a:gd name="adj2" fmla="val 19736613"/>
            </a:avLst>
          </a:prstGeom>
          <a:ln>
            <a:solidFill>
              <a:srgbClr val="D02D2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Рисунок 5" descr="MTSBank_rus-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3352" y="5805264"/>
            <a:ext cx="1362020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9548770" y="213770"/>
            <a:ext cx="12591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Факторинг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9647970" y="583757"/>
            <a:ext cx="2544030" cy="101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263352" y="-31513"/>
            <a:ext cx="9748292" cy="1038632"/>
          </a:xfrm>
          <a:prstGeom prst="rect">
            <a:avLst/>
          </a:prstGeom>
        </p:spPr>
        <p:txBody>
          <a:bodyPr lIns="108000" tIns="36000" rIns="108000" bIns="72000" anchor="ctr" anchorCtr="0"/>
          <a:lstStyle>
            <a:defPPr>
              <a:defRPr lang="ru-RU"/>
            </a:defPPr>
            <a:lvl1pPr algn="r" eaLnBrk="1" hangingPunct="1">
              <a:defRPr sz="3600" b="1" baseline="0">
                <a:latin typeface="Futura New bold"/>
                <a:ea typeface="+mj-ea"/>
                <a:cs typeface="Arial" pitchFamily="34" charset="0"/>
              </a:defRPr>
            </a:lvl1pPr>
            <a:lvl2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2pPr>
            <a:lvl3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3pPr>
            <a:lvl4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4pPr>
            <a:lvl5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Решение актуальных задач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23030" y="1331932"/>
            <a:ext cx="2088136" cy="646331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ГЕНЕРАЛЬНОГО</a:t>
            </a:r>
            <a:endParaRPr lang="ru-RU" dirty="0">
              <a:solidFill>
                <a:srgbClr val="262626"/>
              </a:solidFill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ДИРЕКТОРА</a:t>
            </a:r>
          </a:p>
        </p:txBody>
      </p:sp>
      <p:sp>
        <p:nvSpPr>
          <p:cNvPr id="9" name="Двойные круглые скобки 8"/>
          <p:cNvSpPr/>
          <p:nvPr/>
        </p:nvSpPr>
        <p:spPr>
          <a:xfrm>
            <a:off x="1348853" y="1258521"/>
            <a:ext cx="2236491" cy="662566"/>
          </a:xfrm>
          <a:prstGeom prst="bracketPair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271336" y="1270947"/>
            <a:ext cx="2330638" cy="646331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КОММЕРЧЕСКОГО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>
                <a:solidFill>
                  <a:srgbClr val="262626"/>
                </a:solidFill>
              </a:rPr>
              <a:t>ДИРЕКТОРА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1" name="Двойные круглые скобки 10"/>
          <p:cNvSpPr/>
          <p:nvPr/>
        </p:nvSpPr>
        <p:spPr>
          <a:xfrm>
            <a:off x="8256240" y="1270947"/>
            <a:ext cx="2360825" cy="646331"/>
          </a:xfrm>
          <a:prstGeom prst="bracketPair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62039" y="1713909"/>
            <a:ext cx="1956156" cy="646331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ФИНАНСОВОГО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ДИРЕКТОРА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" name="Двойные круглые скобки 12"/>
          <p:cNvSpPr/>
          <p:nvPr/>
        </p:nvSpPr>
        <p:spPr>
          <a:xfrm>
            <a:off x="4902172" y="1713910"/>
            <a:ext cx="2073446" cy="646331"/>
          </a:xfrm>
          <a:prstGeom prst="bracketPair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256240" y="2205066"/>
            <a:ext cx="2451152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Расширение конкурентных преимуществ за счет предоставления отсрочки платежа</a:t>
            </a:r>
          </a:p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endParaRPr lang="ru-RU" sz="1400" dirty="0">
              <a:solidFill>
                <a:srgbClr val="262626"/>
              </a:solidFill>
              <a:latin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Повышение качества платежной дисциплины покупателей</a:t>
            </a:r>
          </a:p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endParaRPr lang="ru-RU" sz="1400" dirty="0">
              <a:solidFill>
                <a:srgbClr val="262626"/>
              </a:solidFill>
              <a:latin typeface="Arial"/>
            </a:endParaRPr>
          </a:p>
          <a:p>
            <a:pPr algn="ctr">
              <a:lnSpc>
                <a:spcPct val="120000"/>
              </a:lnSpc>
              <a:buClr>
                <a:srgbClr val="C00000"/>
              </a:buClr>
            </a:pPr>
            <a:r>
              <a:rPr lang="ru-RU" sz="1400" dirty="0">
                <a:solidFill>
                  <a:srgbClr val="262626"/>
                </a:solidFill>
              </a:rPr>
              <a:t>Выход на новые рынки сбыта и расширение клиентской </a:t>
            </a:r>
            <a:r>
              <a:rPr lang="ru-RU" sz="1400" dirty="0" smtClean="0">
                <a:solidFill>
                  <a:srgbClr val="262626"/>
                </a:solidFill>
              </a:rPr>
              <a:t>базы</a:t>
            </a:r>
          </a:p>
          <a:p>
            <a:pPr algn="ctr">
              <a:lnSpc>
                <a:spcPct val="120000"/>
              </a:lnSpc>
              <a:buClr>
                <a:srgbClr val="C00000"/>
              </a:buClr>
            </a:pPr>
            <a:endParaRPr lang="ru-RU" sz="1400" dirty="0">
              <a:solidFill>
                <a:srgbClr val="262626"/>
              </a:solidFill>
              <a:latin typeface="Arial"/>
            </a:endParaRPr>
          </a:p>
          <a:p>
            <a:pPr algn="ctr">
              <a:lnSpc>
                <a:spcPct val="120000"/>
              </a:lnSpc>
              <a:buClr>
                <a:srgbClr val="C00000"/>
              </a:buClr>
            </a:pPr>
            <a:r>
              <a:rPr lang="ru-RU" sz="1400" dirty="0" smtClean="0">
                <a:solidFill>
                  <a:srgbClr val="262626"/>
                </a:solidFill>
                <a:latin typeface="Arial"/>
              </a:rPr>
              <a:t>Увеличение объемов продаж</a:t>
            </a:r>
            <a:endParaRPr lang="ru-RU" sz="1400" dirty="0">
              <a:solidFill>
                <a:srgbClr val="262626"/>
              </a:solidFill>
              <a:latin typeface="Arial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348853" y="2232383"/>
            <a:ext cx="2185255" cy="1902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Защита бизнеса от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возможных неплатежей покупателей</a:t>
            </a:r>
          </a:p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endParaRPr lang="ru-RU" sz="1400" baseline="0" dirty="0">
              <a:solidFill>
                <a:srgbClr val="262626"/>
              </a:solidFill>
              <a:latin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Гарантированное получение выручки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285750" marR="0" lvl="0" indent="-28575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783187" y="2606367"/>
            <a:ext cx="2304600" cy="34532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Минимизация проблемной дебиторской задолженности</a:t>
            </a:r>
          </a:p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endParaRPr lang="ru-RU" sz="1400" dirty="0">
              <a:solidFill>
                <a:srgbClr val="262626"/>
              </a:solidFill>
              <a:latin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Оптимизация и диверсификация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внешнего финансирования бизнеса</a:t>
            </a:r>
          </a:p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endParaRPr lang="ru-RU" sz="1400" baseline="0" dirty="0">
              <a:solidFill>
                <a:srgbClr val="262626"/>
              </a:solidFill>
              <a:latin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Улучшение качества финансовой отчетности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285750" marR="0" lvl="0" indent="-28575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24" name="Нашивка 26"/>
          <p:cNvSpPr/>
          <p:nvPr/>
        </p:nvSpPr>
        <p:spPr>
          <a:xfrm>
            <a:off x="4103691" y="3100414"/>
            <a:ext cx="215076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Нашивка 26"/>
          <p:cNvSpPr/>
          <p:nvPr/>
        </p:nvSpPr>
        <p:spPr>
          <a:xfrm>
            <a:off x="3952829" y="3100414"/>
            <a:ext cx="215076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Нашивка 26"/>
          <p:cNvSpPr/>
          <p:nvPr/>
        </p:nvSpPr>
        <p:spPr>
          <a:xfrm>
            <a:off x="7639906" y="4152828"/>
            <a:ext cx="215076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Нашивка 26"/>
          <p:cNvSpPr/>
          <p:nvPr/>
        </p:nvSpPr>
        <p:spPr>
          <a:xfrm>
            <a:off x="7489044" y="4152828"/>
            <a:ext cx="215076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2469868" y="6525344"/>
            <a:ext cx="5218788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5028287" y="1007119"/>
            <a:ext cx="5218788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 flipV="1">
            <a:off x="8813134" y="6175384"/>
            <a:ext cx="1337363" cy="1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1799913" y="3923082"/>
            <a:ext cx="1337363" cy="1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 flipV="1">
            <a:off x="5254971" y="5828287"/>
            <a:ext cx="1337363" cy="1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6837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419947" y="308758"/>
            <a:ext cx="4297774" cy="842943"/>
          </a:xfrm>
          <a:prstGeom prst="rect">
            <a:avLst/>
          </a:prstGeom>
        </p:spPr>
        <p:txBody>
          <a:bodyPr lIns="108000" tIns="36000" rIns="108000" bIns="72000" anchor="ctr" anchorCtr="0"/>
          <a:lstStyle>
            <a:defPPr>
              <a:defRPr lang="ru-RU"/>
            </a:defPPr>
            <a:lvl1pPr algn="r" eaLnBrk="1" hangingPunct="1">
              <a:defRPr sz="3600" b="1" baseline="0">
                <a:latin typeface="Futura New bold"/>
                <a:ea typeface="+mj-ea"/>
                <a:cs typeface="Arial" pitchFamily="34" charset="0"/>
              </a:defRPr>
            </a:lvl1pPr>
            <a:lvl2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2pPr>
            <a:lvl3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3pPr>
            <a:lvl4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4pPr>
            <a:lvl5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Новые возможности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325971" y="254851"/>
            <a:ext cx="1259192" cy="4160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1600" b="1" dirty="0" smtClean="0">
                <a:solidFill>
                  <a:srgbClr val="C00000"/>
                </a:solidFill>
              </a:rPr>
              <a:t>Факторинг</a:t>
            </a:r>
          </a:p>
        </p:txBody>
      </p:sp>
      <p:sp>
        <p:nvSpPr>
          <p:cNvPr id="5" name="Дуга 4"/>
          <p:cNvSpPr/>
          <p:nvPr/>
        </p:nvSpPr>
        <p:spPr>
          <a:xfrm rot="1667333">
            <a:off x="-2872130" y="2021710"/>
            <a:ext cx="5112568" cy="5112568"/>
          </a:xfrm>
          <a:prstGeom prst="arc">
            <a:avLst/>
          </a:prstGeom>
          <a:ln>
            <a:solidFill>
              <a:srgbClr val="D02D2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1271464" y="1869821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822531" y="1855754"/>
            <a:ext cx="312134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Оперативное пополнение оборотных средств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278728" y="1438684"/>
            <a:ext cx="5467078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Удобный источник финансирования без залога </a:t>
            </a:r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Выплата финансирования сразу после отгрузки товара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Диверсификация источников финансирования бизнеса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окрытие кассовых разрывов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2180818" y="3021949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702900" y="2851200"/>
            <a:ext cx="320406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746529" y="2988241"/>
            <a:ext cx="32040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Увеличение лимитов при соразмерном росте продаж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2433945" y="4182788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2999656" y="4149080"/>
            <a:ext cx="36004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Возможность предоставлять отсрочку без отвлечения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собственных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средств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Овал 26"/>
          <p:cNvSpPr/>
          <p:nvPr/>
        </p:nvSpPr>
        <p:spPr>
          <a:xfrm>
            <a:off x="2233061" y="5542229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798772" y="5508521"/>
            <a:ext cx="32040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Экспертная оценка и управление дебиторской задолженностью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3497916" y="2600824"/>
            <a:ext cx="500984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7" name="Прямоугольник 36"/>
          <p:cNvSpPr/>
          <p:nvPr/>
        </p:nvSpPr>
        <p:spPr>
          <a:xfrm>
            <a:off x="6002839" y="2632904"/>
            <a:ext cx="4928449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Рост объемов продаж и коммерческой прибыли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Возможность увеличения лимита исходя из текущих потребностей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отенциал роста зависит от спроса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775352" y="3875763"/>
            <a:ext cx="482540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Возможность предложить покупателям более гибкие сроки оплаты товара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Выход на новые рынки сбыта и расширение клиентской базы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оддержание лояльности действующих клиентов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4304933" y="3797762"/>
            <a:ext cx="500984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4871864" y="5297842"/>
            <a:ext cx="500984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5735960" y="6381328"/>
            <a:ext cx="500984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7248128" y="5383797"/>
            <a:ext cx="4619058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роверка и оценка покупателей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Объективные отгрузочные лимиты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Улучшение платежной дисциплины покупателей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pic>
        <p:nvPicPr>
          <p:cNvPr id="39" name="Рисунок 5" descr="MTSBank_rus-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9929" y="3912407"/>
            <a:ext cx="1470255" cy="310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1" name="Прямая соединительная линия 30"/>
          <p:cNvCxnSpPr/>
          <p:nvPr/>
        </p:nvCxnSpPr>
        <p:spPr>
          <a:xfrm>
            <a:off x="9408368" y="884584"/>
            <a:ext cx="2783632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9325971" y="496735"/>
            <a:ext cx="1673536" cy="4160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С РЕГРЕССОМ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33" name="Нашивка 26"/>
          <p:cNvSpPr/>
          <p:nvPr/>
        </p:nvSpPr>
        <p:spPr>
          <a:xfrm>
            <a:off x="9029483" y="413973"/>
            <a:ext cx="215076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0" name="Нашивка 26"/>
          <p:cNvSpPr/>
          <p:nvPr/>
        </p:nvSpPr>
        <p:spPr>
          <a:xfrm>
            <a:off x="8878621" y="413973"/>
            <a:ext cx="215076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668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424426" y="130367"/>
            <a:ext cx="9748292" cy="1038632"/>
          </a:xfrm>
          <a:prstGeom prst="rect">
            <a:avLst/>
          </a:prstGeom>
        </p:spPr>
        <p:txBody>
          <a:bodyPr lIns="108000" tIns="36000" rIns="108000" bIns="72000" anchor="ctr" anchorCtr="0"/>
          <a:lstStyle>
            <a:defPPr>
              <a:defRPr lang="ru-RU"/>
            </a:defPPr>
            <a:lvl1pPr algn="r" eaLnBrk="1" hangingPunct="1">
              <a:defRPr sz="3600" b="1" baseline="0">
                <a:latin typeface="Futura New bold"/>
                <a:ea typeface="+mj-ea"/>
                <a:cs typeface="Arial" pitchFamily="34" charset="0"/>
              </a:defRPr>
            </a:lvl1pPr>
            <a:lvl2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2pPr>
            <a:lvl3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3pPr>
            <a:lvl4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4pPr>
            <a:lvl5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Как это работает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690943" y="775086"/>
            <a:ext cx="627096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Продукт, который даёт возможность оперативно пополнять оборотные средства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5" name="Дуга 4"/>
          <p:cNvSpPr/>
          <p:nvPr/>
        </p:nvSpPr>
        <p:spPr>
          <a:xfrm rot="16966419">
            <a:off x="10195160" y="4871943"/>
            <a:ext cx="5112568" cy="5112568"/>
          </a:xfrm>
          <a:prstGeom prst="arc">
            <a:avLst>
              <a:gd name="adj1" fmla="val 16200000"/>
              <a:gd name="adj2" fmla="val 20031900"/>
            </a:avLst>
          </a:prstGeom>
          <a:ln>
            <a:solidFill>
              <a:srgbClr val="D02D2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680961" y="2817760"/>
            <a:ext cx="320406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5776237" y="775086"/>
            <a:ext cx="6415763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4718329" y="6597352"/>
            <a:ext cx="507547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1661882" y="6391401"/>
            <a:ext cx="5075476" cy="14354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39" name="Рисунок 5" descr="MTSBank_rus-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53979" y="4096230"/>
            <a:ext cx="2030142" cy="429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5690943" y="2268339"/>
            <a:ext cx="1648849" cy="369332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ОСТАВЩИК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9332851" y="2268339"/>
            <a:ext cx="1767535" cy="369332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ОКУПАТЕЛЬ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" name="Двойные круглые скобки 12"/>
          <p:cNvSpPr/>
          <p:nvPr/>
        </p:nvSpPr>
        <p:spPr>
          <a:xfrm>
            <a:off x="5690943" y="2268339"/>
            <a:ext cx="1648849" cy="369332"/>
          </a:xfrm>
          <a:prstGeom prst="bracketPair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Двойные круглые скобки 32"/>
          <p:cNvSpPr/>
          <p:nvPr/>
        </p:nvSpPr>
        <p:spPr>
          <a:xfrm>
            <a:off x="9332851" y="2268339"/>
            <a:ext cx="1648849" cy="369332"/>
          </a:xfrm>
          <a:prstGeom prst="bracketPair">
            <a:avLst/>
          </a:prstGeom>
          <a:ln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6" name="Прямая со стрелкой 15"/>
          <p:cNvCxnSpPr/>
          <p:nvPr/>
        </p:nvCxnSpPr>
        <p:spPr>
          <a:xfrm flipV="1">
            <a:off x="7612509" y="2441732"/>
            <a:ext cx="1447625" cy="3854"/>
          </a:xfrm>
          <a:prstGeom prst="straightConnector1">
            <a:avLst/>
          </a:prstGeom>
          <a:ln w="19050">
            <a:solidFill>
              <a:srgbClr val="0093B2"/>
            </a:solidFill>
            <a:tailEnd type="triangle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5776237" y="1359861"/>
            <a:ext cx="6415763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6515367" y="2829641"/>
            <a:ext cx="0" cy="1384981"/>
          </a:xfrm>
          <a:prstGeom prst="line">
            <a:avLst/>
          </a:prstGeom>
          <a:ln w="19050">
            <a:solidFill>
              <a:srgbClr val="0093B2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50"/>
          <p:cNvCxnSpPr/>
          <p:nvPr/>
        </p:nvCxnSpPr>
        <p:spPr>
          <a:xfrm>
            <a:off x="6515367" y="4214622"/>
            <a:ext cx="440743" cy="0"/>
          </a:xfrm>
          <a:prstGeom prst="straightConnector1">
            <a:avLst/>
          </a:prstGeom>
          <a:ln w="19050">
            <a:solidFill>
              <a:srgbClr val="0093B2"/>
            </a:solidFill>
            <a:tailEnd type="triangle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/>
        </p:nvCxnSpPr>
        <p:spPr>
          <a:xfrm flipH="1">
            <a:off x="6005401" y="4430645"/>
            <a:ext cx="936103" cy="0"/>
          </a:xfrm>
          <a:prstGeom prst="line">
            <a:avLst/>
          </a:prstGeom>
          <a:ln w="19050">
            <a:solidFill>
              <a:srgbClr val="0093B2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/>
          <p:nvPr/>
        </p:nvCxnSpPr>
        <p:spPr>
          <a:xfrm flipH="1" flipV="1">
            <a:off x="5993471" y="2829641"/>
            <a:ext cx="11930" cy="1601004"/>
          </a:xfrm>
          <a:prstGeom prst="straightConnector1">
            <a:avLst/>
          </a:prstGeom>
          <a:ln w="19050">
            <a:solidFill>
              <a:srgbClr val="20A1BC"/>
            </a:solidFill>
            <a:tailEnd type="triangl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10488488" y="2829640"/>
            <a:ext cx="0" cy="1505349"/>
          </a:xfrm>
          <a:prstGeom prst="line">
            <a:avLst/>
          </a:prstGeom>
          <a:ln w="19050">
            <a:solidFill>
              <a:srgbClr val="0093B2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 стрелкой 60"/>
          <p:cNvCxnSpPr/>
          <p:nvPr/>
        </p:nvCxnSpPr>
        <p:spPr>
          <a:xfrm flipH="1">
            <a:off x="9480376" y="4334989"/>
            <a:ext cx="1008112" cy="0"/>
          </a:xfrm>
          <a:prstGeom prst="straightConnector1">
            <a:avLst/>
          </a:prstGeom>
          <a:ln w="19050">
            <a:solidFill>
              <a:srgbClr val="0093B2"/>
            </a:solidFill>
            <a:tailEnd type="triangle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Соединительная линия уступом 69"/>
          <p:cNvCxnSpPr/>
          <p:nvPr/>
        </p:nvCxnSpPr>
        <p:spPr>
          <a:xfrm rot="16200000" flipH="1">
            <a:off x="7037034" y="2896717"/>
            <a:ext cx="1074508" cy="940352"/>
          </a:xfrm>
          <a:prstGeom prst="bentConnector3">
            <a:avLst>
              <a:gd name="adj1" fmla="val 50000"/>
            </a:avLst>
          </a:prstGeom>
          <a:ln w="19050" cmpd="sng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6495346" y="3836710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2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981071" y="4099056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3</a:t>
            </a:r>
            <a:endParaRPr kumimoji="0" lang="ru-RU" sz="1800" b="0" i="0" u="none" strike="noStrike" kern="1200" cap="none" spc="0" normalizeH="0" baseline="0" noProof="0" dirty="0">
              <a:ln>
                <a:solidFill>
                  <a:srgbClr val="4E6470"/>
                </a:solidFill>
              </a:ln>
              <a:solidFill>
                <a:srgbClr val="4E647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10172718" y="4000682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4</a:t>
            </a:r>
            <a:endParaRPr kumimoji="0" lang="ru-RU" sz="1800" b="0" i="0" u="none" strike="noStrike" kern="1200" cap="none" spc="0" normalizeH="0" baseline="0" noProof="0" dirty="0">
              <a:ln>
                <a:solidFill>
                  <a:srgbClr val="4E6470"/>
                </a:solidFill>
              </a:ln>
              <a:solidFill>
                <a:srgbClr val="4E647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7437747" y="3038426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</a:rPr>
              <a:t>6</a:t>
            </a:r>
            <a:endParaRPr kumimoji="0" lang="ru-RU" sz="1800" b="0" i="0" u="none" strike="noStrike" kern="1200" cap="none" spc="0" normalizeH="0" baseline="0" noProof="0" dirty="0">
              <a:ln>
                <a:solidFill>
                  <a:srgbClr val="4E6470"/>
                </a:solidFill>
              </a:ln>
              <a:solidFill>
                <a:srgbClr val="4E647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8064227" y="2149440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1</a:t>
            </a:r>
            <a:endParaRPr kumimoji="0" lang="ru-RU" sz="1800" b="0" i="0" u="none" strike="noStrike" kern="1200" cap="none" spc="0" normalizeH="0" baseline="0" noProof="0" dirty="0">
              <a:ln>
                <a:solidFill>
                  <a:srgbClr val="4E6470"/>
                </a:solidFill>
              </a:ln>
              <a:solidFill>
                <a:srgbClr val="4E647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34527" y="737532"/>
            <a:ext cx="28510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Arial"/>
              </a:rPr>
              <a:t>Факторинг с регрессом</a:t>
            </a:r>
            <a:endParaRPr lang="ru-RU" dirty="0"/>
          </a:p>
        </p:txBody>
      </p:sp>
      <p:sp>
        <p:nvSpPr>
          <p:cNvPr id="44" name="Овал 43"/>
          <p:cNvSpPr/>
          <p:nvPr/>
        </p:nvSpPr>
        <p:spPr>
          <a:xfrm>
            <a:off x="811814" y="1656338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Овал 44"/>
          <p:cNvSpPr/>
          <p:nvPr/>
        </p:nvSpPr>
        <p:spPr>
          <a:xfrm>
            <a:off x="811812" y="2371322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1447783" y="1763298"/>
            <a:ext cx="320406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62626"/>
                </a:solidFill>
              </a:rPr>
              <a:t>Осуществление поставок продукции</a:t>
            </a:r>
            <a:endParaRPr lang="ru-RU" sz="1400" dirty="0">
              <a:latin typeface="+mj-lt"/>
            </a:endParaRPr>
          </a:p>
        </p:txBody>
      </p:sp>
      <p:sp>
        <p:nvSpPr>
          <p:cNvPr id="47" name="Овал 46"/>
          <p:cNvSpPr/>
          <p:nvPr/>
        </p:nvSpPr>
        <p:spPr>
          <a:xfrm>
            <a:off x="811812" y="3091356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1447783" y="2382810"/>
            <a:ext cx="32040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62626"/>
                </a:solidFill>
              </a:rPr>
              <a:t>Передача реестров на финансирование</a:t>
            </a:r>
            <a:endParaRPr lang="ru-RU" sz="1400" dirty="0">
              <a:latin typeface="+mj-lt"/>
            </a:endParaRPr>
          </a:p>
        </p:txBody>
      </p:sp>
      <p:sp>
        <p:nvSpPr>
          <p:cNvPr id="50" name="Овал 49"/>
          <p:cNvSpPr/>
          <p:nvPr/>
        </p:nvSpPr>
        <p:spPr>
          <a:xfrm>
            <a:off x="811812" y="5272813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1441736" y="3119559"/>
            <a:ext cx="32040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62626"/>
                </a:solidFill>
              </a:rPr>
              <a:t>Выплата финансирования по уступленным поставкам</a:t>
            </a:r>
            <a:endParaRPr lang="ru-RU" sz="1400" dirty="0">
              <a:latin typeface="+mj-lt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919861" y="1763298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ru-RU" dirty="0" smtClean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</a:rPr>
              <a:t>1</a:t>
            </a:r>
            <a:endParaRPr lang="ru-RU" dirty="0">
              <a:ln>
                <a:solidFill>
                  <a:srgbClr val="4E6470"/>
                </a:solidFill>
              </a:ln>
              <a:solidFill>
                <a:srgbClr val="4E6470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441736" y="5283975"/>
            <a:ext cx="54121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C00000"/>
                </a:solidFill>
              </a:rPr>
              <a:t>В случае неоплаты покупателем поставленной продукции </a:t>
            </a:r>
            <a:r>
              <a:rPr lang="ru-RU" sz="1400" dirty="0" smtClean="0">
                <a:solidFill>
                  <a:srgbClr val="C00000"/>
                </a:solidFill>
              </a:rPr>
              <a:t>поставщик </a:t>
            </a:r>
            <a:r>
              <a:rPr lang="ru-RU" sz="1400" dirty="0">
                <a:solidFill>
                  <a:srgbClr val="C00000"/>
                </a:solidFill>
              </a:rPr>
              <a:t>возвращает выплаченное финансирование.</a:t>
            </a:r>
          </a:p>
        </p:txBody>
      </p:sp>
      <p:sp>
        <p:nvSpPr>
          <p:cNvPr id="56" name="Овал 55"/>
          <p:cNvSpPr/>
          <p:nvPr/>
        </p:nvSpPr>
        <p:spPr>
          <a:xfrm>
            <a:off x="819089" y="3820696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1441736" y="3930833"/>
            <a:ext cx="320406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62626"/>
                </a:solidFill>
              </a:rPr>
              <a:t>Оплата поставки покупателем</a:t>
            </a:r>
            <a:endParaRPr lang="ru-RU" sz="1400" dirty="0">
              <a:latin typeface="+mj-lt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940374" y="2476676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ru-RU" dirty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</a:rPr>
              <a:t>2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929000" y="3195056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ru-RU" dirty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</a:rPr>
              <a:t>3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929000" y="3914390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ru-RU" dirty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</a:rPr>
              <a:t>4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940374" y="4640903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ru-RU" dirty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</a:rPr>
              <a:t>5</a:t>
            </a:r>
          </a:p>
        </p:txBody>
      </p:sp>
      <p:sp>
        <p:nvSpPr>
          <p:cNvPr id="65" name="Овал 64"/>
          <p:cNvSpPr/>
          <p:nvPr/>
        </p:nvSpPr>
        <p:spPr>
          <a:xfrm>
            <a:off x="811811" y="4550036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TextBox 65"/>
          <p:cNvSpPr txBox="1"/>
          <p:nvPr/>
        </p:nvSpPr>
        <p:spPr>
          <a:xfrm>
            <a:off x="940374" y="5371780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dirty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</a:rPr>
              <a:t>6</a:t>
            </a:r>
            <a:endParaRPr lang="ru-RU" dirty="0">
              <a:ln>
                <a:solidFill>
                  <a:srgbClr val="4E6470"/>
                </a:solidFill>
              </a:ln>
              <a:solidFill>
                <a:srgbClr val="4E6470"/>
              </a:solidFill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441735" y="4576551"/>
            <a:ext cx="32040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62626"/>
                </a:solidFill>
              </a:rPr>
              <a:t>Перевод остаточного платежа (в случае его наличия)</a:t>
            </a:r>
            <a:endParaRPr lang="ru-RU" sz="1400" dirty="0">
              <a:latin typeface="+mj-lt"/>
            </a:endParaRPr>
          </a:p>
        </p:txBody>
      </p:sp>
      <p:cxnSp>
        <p:nvCxnSpPr>
          <p:cNvPr id="68" name="Соединительная линия уступом 67"/>
          <p:cNvCxnSpPr/>
          <p:nvPr/>
        </p:nvCxnSpPr>
        <p:spPr>
          <a:xfrm rot="16200000" flipV="1">
            <a:off x="6580282" y="3127694"/>
            <a:ext cx="1171414" cy="574562"/>
          </a:xfrm>
          <a:prstGeom prst="bentConnector3">
            <a:avLst>
              <a:gd name="adj1" fmla="val 8619"/>
            </a:avLst>
          </a:prstGeom>
          <a:ln w="19050">
            <a:solidFill>
              <a:srgbClr val="20A1BC"/>
            </a:solidFill>
            <a:tailEnd type="triangl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/>
        </p:nvSpPr>
        <p:spPr>
          <a:xfrm>
            <a:off x="6882754" y="3543931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ru-RU" dirty="0" smtClean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</a:rPr>
              <a:t>5</a:t>
            </a:r>
            <a:endParaRPr lang="ru-RU" dirty="0">
              <a:ln>
                <a:solidFill>
                  <a:srgbClr val="4E6470"/>
                </a:solidFill>
              </a:ln>
              <a:solidFill>
                <a:srgbClr val="4E64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866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419929" y="78818"/>
            <a:ext cx="6818054" cy="1038632"/>
          </a:xfrm>
          <a:prstGeom prst="rect">
            <a:avLst/>
          </a:prstGeom>
        </p:spPr>
        <p:txBody>
          <a:bodyPr lIns="108000" tIns="36000" rIns="108000" bIns="72000" anchor="ctr" anchorCtr="0"/>
          <a:lstStyle>
            <a:defPPr>
              <a:defRPr lang="ru-RU"/>
            </a:defPPr>
            <a:lvl1pPr algn="r" eaLnBrk="1" hangingPunct="1">
              <a:defRPr sz="3600" b="1" baseline="0">
                <a:latin typeface="Futura New bold"/>
                <a:ea typeface="+mj-ea"/>
                <a:cs typeface="Arial" pitchFamily="34" charset="0"/>
              </a:defRPr>
            </a:lvl1pPr>
            <a:lvl2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2pPr>
            <a:lvl3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3pPr>
            <a:lvl4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4pPr>
            <a:lvl5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Новые возможности и безопасность</a:t>
            </a:r>
          </a:p>
        </p:txBody>
      </p:sp>
      <p:sp>
        <p:nvSpPr>
          <p:cNvPr id="5" name="Дуга 4"/>
          <p:cNvSpPr/>
          <p:nvPr/>
        </p:nvSpPr>
        <p:spPr>
          <a:xfrm rot="1667333">
            <a:off x="-2872130" y="2021710"/>
            <a:ext cx="5112568" cy="5112568"/>
          </a:xfrm>
          <a:prstGeom prst="arc">
            <a:avLst/>
          </a:prstGeom>
          <a:ln>
            <a:solidFill>
              <a:srgbClr val="D02D2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1271464" y="1869821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822531" y="1855754"/>
            <a:ext cx="312134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Получение выручки сразу после отгрузки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275963" y="1240212"/>
            <a:ext cx="6004613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Удобный источник пополнения оборотных средств </a:t>
            </a:r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Выкуп дебиторской задолженности Банком сразу после отгрузки товара.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Диверсификация источников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финансирования и защиты бизнес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2180818" y="3021949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702900" y="2851200"/>
            <a:ext cx="320406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746529" y="2988241"/>
            <a:ext cx="32040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Исключение риска неоплаты отгруженного товара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2433945" y="4182788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2999656" y="4149080"/>
            <a:ext cx="36004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Безопасная работа с новыми покупателями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Овал 26"/>
          <p:cNvSpPr/>
          <p:nvPr/>
        </p:nvSpPr>
        <p:spPr>
          <a:xfrm>
            <a:off x="2233061" y="5542229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798772" y="5508521"/>
            <a:ext cx="32040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Улучшение качества финансовой отчетности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3497916" y="2420888"/>
            <a:ext cx="500984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7" name="Прямоугольник 36"/>
          <p:cNvSpPr/>
          <p:nvPr/>
        </p:nvSpPr>
        <p:spPr>
          <a:xfrm>
            <a:off x="5906967" y="2432035"/>
            <a:ext cx="5373609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При продаже дебиторской задолженности риск передается Банку</a:t>
            </a:r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Лимит устанавливается исходя из текущих потребностей клиента и возможностей покупателя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449801" y="3587536"/>
            <a:ext cx="5174964" cy="1902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роверка и оценка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окупателей, объективные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отгрузочные лимиты</a:t>
            </a:r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Безопасный выход на новые рынки сбыта и расширение клиентской базы</a:t>
            </a:r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Возможность предложить покупателям более гибкие и конкурентные сроки оплаты товара</a:t>
            </a:r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4304933" y="3573016"/>
            <a:ext cx="500984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5168520" y="5206900"/>
            <a:ext cx="500984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5735960" y="6381328"/>
            <a:ext cx="500984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6756700" y="5230883"/>
            <a:ext cx="5190591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В момент выплаты финансирования происходит списание дебиторской задолженности с баланс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В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ашей компании, улучшается его структура и ключевые финансовые показатели</a:t>
            </a:r>
          </a:p>
        </p:txBody>
      </p:sp>
      <p:pic>
        <p:nvPicPr>
          <p:cNvPr id="39" name="Рисунок 5" descr="MTSBank_rus-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9929" y="3912407"/>
            <a:ext cx="1470255" cy="310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Прямоугольник 39"/>
          <p:cNvSpPr/>
          <p:nvPr/>
        </p:nvSpPr>
        <p:spPr>
          <a:xfrm>
            <a:off x="9314779" y="238801"/>
            <a:ext cx="1259192" cy="4160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1600" b="1" dirty="0" smtClean="0">
                <a:solidFill>
                  <a:srgbClr val="C00000"/>
                </a:solidFill>
              </a:rPr>
              <a:t>Факторинг</a:t>
            </a: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9408368" y="884584"/>
            <a:ext cx="2783632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9306708" y="479616"/>
            <a:ext cx="1753686" cy="4160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 smtClean="0">
                <a:solidFill>
                  <a:srgbClr val="C00000"/>
                </a:solidFill>
                <a:latin typeface="Arial"/>
              </a:rPr>
              <a:t>БЕЗ РЕГРЕСС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" name="Нашивка 26"/>
          <p:cNvSpPr/>
          <p:nvPr/>
        </p:nvSpPr>
        <p:spPr>
          <a:xfrm>
            <a:off x="9035063" y="407842"/>
            <a:ext cx="215076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4" name="Нашивка 26"/>
          <p:cNvSpPr/>
          <p:nvPr/>
        </p:nvSpPr>
        <p:spPr>
          <a:xfrm>
            <a:off x="8884201" y="407842"/>
            <a:ext cx="215076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561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424426" y="130367"/>
            <a:ext cx="9748292" cy="1038632"/>
          </a:xfrm>
          <a:prstGeom prst="rect">
            <a:avLst/>
          </a:prstGeom>
        </p:spPr>
        <p:txBody>
          <a:bodyPr lIns="108000" tIns="36000" rIns="108000" bIns="72000" anchor="ctr" anchorCtr="0"/>
          <a:lstStyle>
            <a:defPPr>
              <a:defRPr lang="ru-RU"/>
            </a:defPPr>
            <a:lvl1pPr algn="r" eaLnBrk="1" hangingPunct="1">
              <a:defRPr sz="3600" b="1" baseline="0">
                <a:latin typeface="Futura New bold"/>
                <a:ea typeface="+mj-ea"/>
                <a:cs typeface="Arial" pitchFamily="34" charset="0"/>
              </a:defRPr>
            </a:lvl1pPr>
            <a:lvl2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2pPr>
            <a:lvl3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3pPr>
            <a:lvl4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4pPr>
            <a:lvl5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Как это работает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881505" y="560529"/>
            <a:ext cx="61191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Продукт, который позволяет получить финансирование под уступку дебиторской задолженности и защиту от рисков неплатежей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5" name="Дуга 4"/>
          <p:cNvSpPr/>
          <p:nvPr/>
        </p:nvSpPr>
        <p:spPr>
          <a:xfrm rot="16966419">
            <a:off x="10195160" y="4871943"/>
            <a:ext cx="5112568" cy="5112568"/>
          </a:xfrm>
          <a:prstGeom prst="arc">
            <a:avLst>
              <a:gd name="adj1" fmla="val 16200000"/>
              <a:gd name="adj2" fmla="val 20031900"/>
            </a:avLst>
          </a:prstGeom>
          <a:ln>
            <a:solidFill>
              <a:srgbClr val="D02D2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702900" y="2851200"/>
            <a:ext cx="320406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5881504" y="567024"/>
            <a:ext cx="631049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4718329" y="6597352"/>
            <a:ext cx="507547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1661882" y="6391401"/>
            <a:ext cx="5075476" cy="14354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39" name="Рисунок 5" descr="MTSBank_rus-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80416" y="4260383"/>
            <a:ext cx="2030142" cy="429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5690943" y="2268339"/>
            <a:ext cx="1648849" cy="369332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ОСТАВЩИК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9332851" y="2268339"/>
            <a:ext cx="1767535" cy="369332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ОКУПАТЕЛЬ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" name="Двойные круглые скобки 12"/>
          <p:cNvSpPr/>
          <p:nvPr/>
        </p:nvSpPr>
        <p:spPr>
          <a:xfrm>
            <a:off x="5690943" y="2268339"/>
            <a:ext cx="1648849" cy="369332"/>
          </a:xfrm>
          <a:prstGeom prst="bracketPair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Двойные круглые скобки 32"/>
          <p:cNvSpPr/>
          <p:nvPr/>
        </p:nvSpPr>
        <p:spPr>
          <a:xfrm>
            <a:off x="9332851" y="2268339"/>
            <a:ext cx="1648849" cy="369332"/>
          </a:xfrm>
          <a:prstGeom prst="bracketPair">
            <a:avLst/>
          </a:prstGeom>
          <a:ln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6" name="Прямая со стрелкой 15"/>
          <p:cNvCxnSpPr/>
          <p:nvPr/>
        </p:nvCxnSpPr>
        <p:spPr>
          <a:xfrm flipV="1">
            <a:off x="7612509" y="2441732"/>
            <a:ext cx="1447625" cy="3854"/>
          </a:xfrm>
          <a:prstGeom prst="straightConnector1">
            <a:avLst/>
          </a:prstGeom>
          <a:ln w="19050">
            <a:solidFill>
              <a:srgbClr val="0093B2"/>
            </a:solidFill>
            <a:tailEnd type="triangle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5881504" y="1376988"/>
            <a:ext cx="631049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/>
        </p:nvCxnSpPr>
        <p:spPr>
          <a:xfrm flipH="1">
            <a:off x="6100965" y="4475044"/>
            <a:ext cx="990974" cy="15940"/>
          </a:xfrm>
          <a:prstGeom prst="line">
            <a:avLst/>
          </a:prstGeom>
          <a:ln w="19050">
            <a:solidFill>
              <a:srgbClr val="0093B2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/>
          <p:nvPr/>
        </p:nvCxnSpPr>
        <p:spPr>
          <a:xfrm flipV="1">
            <a:off x="6100965" y="2831629"/>
            <a:ext cx="0" cy="1666562"/>
          </a:xfrm>
          <a:prstGeom prst="straightConnector1">
            <a:avLst/>
          </a:prstGeom>
          <a:ln w="19050">
            <a:solidFill>
              <a:srgbClr val="20A1BC"/>
            </a:solidFill>
            <a:tailEnd type="triangl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10522242" y="2843705"/>
            <a:ext cx="0" cy="1631339"/>
          </a:xfrm>
          <a:prstGeom prst="line">
            <a:avLst/>
          </a:prstGeom>
          <a:ln w="19050">
            <a:solidFill>
              <a:srgbClr val="0093B2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 стрелкой 60"/>
          <p:cNvCxnSpPr/>
          <p:nvPr/>
        </p:nvCxnSpPr>
        <p:spPr>
          <a:xfrm flipH="1">
            <a:off x="9514130" y="4468388"/>
            <a:ext cx="1008112" cy="0"/>
          </a:xfrm>
          <a:prstGeom prst="straightConnector1">
            <a:avLst/>
          </a:prstGeom>
          <a:ln w="19050">
            <a:solidFill>
              <a:srgbClr val="0093B2"/>
            </a:solidFill>
            <a:tailEnd type="triangle"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Соединительная линия уступом 69"/>
          <p:cNvCxnSpPr/>
          <p:nvPr/>
        </p:nvCxnSpPr>
        <p:spPr>
          <a:xfrm rot="16200000" flipH="1">
            <a:off x="7058241" y="2865011"/>
            <a:ext cx="1376403" cy="1309639"/>
          </a:xfrm>
          <a:prstGeom prst="bentConnector3">
            <a:avLst>
              <a:gd name="adj1" fmla="val 50000"/>
            </a:avLst>
          </a:prstGeom>
          <a:ln w="19050" cmpd="sng">
            <a:prstDash val="solid"/>
            <a:tailEnd type="triangle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 flipH="1">
            <a:off x="7106473" y="3168971"/>
            <a:ext cx="347885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2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6126175" y="4130666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3</a:t>
            </a:r>
            <a:endParaRPr kumimoji="0" lang="ru-RU" sz="1800" b="0" i="0" u="none" strike="noStrike" kern="1200" cap="none" spc="0" normalizeH="0" baseline="0" noProof="0" dirty="0">
              <a:ln>
                <a:solidFill>
                  <a:srgbClr val="4E6470"/>
                </a:solidFill>
              </a:ln>
              <a:solidFill>
                <a:srgbClr val="4E647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10172718" y="4113153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4</a:t>
            </a:r>
            <a:endParaRPr kumimoji="0" lang="ru-RU" sz="1800" b="0" i="0" u="none" strike="noStrike" kern="1200" cap="none" spc="0" normalizeH="0" baseline="0" noProof="0" dirty="0">
              <a:ln>
                <a:solidFill>
                  <a:srgbClr val="4E6470"/>
                </a:solidFill>
              </a:ln>
              <a:solidFill>
                <a:srgbClr val="4E647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2027476" y="5439417"/>
            <a:ext cx="54121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В случае неоплаты покупателем поставленной продукци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оставщик </a:t>
            </a:r>
            <a:r>
              <a:rPr kumimoji="0" lang="ru-RU" sz="1400" b="0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НЕ возвращает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выплаченное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финансирование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8161559" y="2094796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1</a:t>
            </a:r>
            <a:endParaRPr kumimoji="0" lang="ru-RU" sz="1800" b="0" i="0" u="none" strike="noStrike" kern="1200" cap="none" spc="0" normalizeH="0" baseline="0" noProof="0" dirty="0">
              <a:ln>
                <a:solidFill>
                  <a:srgbClr val="4E6470"/>
                </a:solidFill>
              </a:ln>
              <a:solidFill>
                <a:srgbClr val="4E647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5" name="Нашивка 26"/>
          <p:cNvSpPr/>
          <p:nvPr/>
        </p:nvSpPr>
        <p:spPr>
          <a:xfrm>
            <a:off x="1784162" y="5484698"/>
            <a:ext cx="215076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Нашивка 26"/>
          <p:cNvSpPr/>
          <p:nvPr/>
        </p:nvSpPr>
        <p:spPr>
          <a:xfrm>
            <a:off x="1633300" y="5484698"/>
            <a:ext cx="215076" cy="443878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Нашивка 26"/>
          <p:cNvSpPr/>
          <p:nvPr/>
        </p:nvSpPr>
        <p:spPr>
          <a:xfrm flipH="1">
            <a:off x="7223729" y="5493393"/>
            <a:ext cx="208503" cy="450407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Нашивка 26"/>
          <p:cNvSpPr/>
          <p:nvPr/>
        </p:nvSpPr>
        <p:spPr>
          <a:xfrm flipH="1">
            <a:off x="7072867" y="5493393"/>
            <a:ext cx="208503" cy="450407"/>
          </a:xfrm>
          <a:prstGeom prst="chevron">
            <a:avLst/>
          </a:prstGeom>
          <a:noFill/>
          <a:ln w="19050">
            <a:solidFill>
              <a:srgbClr val="0093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40434" y="762570"/>
            <a:ext cx="29306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Arial"/>
              </a:rPr>
              <a:t>Факторинг без регресса</a:t>
            </a:r>
            <a:endParaRPr lang="ru-RU" dirty="0"/>
          </a:p>
        </p:txBody>
      </p:sp>
      <p:sp>
        <p:nvSpPr>
          <p:cNvPr id="43" name="Овал 42"/>
          <p:cNvSpPr/>
          <p:nvPr/>
        </p:nvSpPr>
        <p:spPr>
          <a:xfrm>
            <a:off x="811814" y="1656338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Овал 43"/>
          <p:cNvSpPr/>
          <p:nvPr/>
        </p:nvSpPr>
        <p:spPr>
          <a:xfrm>
            <a:off x="811812" y="2385646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/>
        </p:nvSpPr>
        <p:spPr>
          <a:xfrm>
            <a:off x="1447783" y="1763298"/>
            <a:ext cx="320406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62626"/>
                </a:solidFill>
              </a:rPr>
              <a:t>Осуществление поставок продукции</a:t>
            </a:r>
            <a:endParaRPr lang="ru-RU" sz="1400" dirty="0">
              <a:latin typeface="+mj-lt"/>
            </a:endParaRPr>
          </a:p>
        </p:txBody>
      </p:sp>
      <p:sp>
        <p:nvSpPr>
          <p:cNvPr id="46" name="Овал 45"/>
          <p:cNvSpPr/>
          <p:nvPr/>
        </p:nvSpPr>
        <p:spPr>
          <a:xfrm>
            <a:off x="809245" y="3114954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 46"/>
          <p:cNvSpPr/>
          <p:nvPr/>
        </p:nvSpPr>
        <p:spPr>
          <a:xfrm>
            <a:off x="1454439" y="2396600"/>
            <a:ext cx="32040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62626"/>
                </a:solidFill>
              </a:rPr>
              <a:t>Передача реестров на финансирование, уступка долга</a:t>
            </a:r>
            <a:endParaRPr lang="ru-RU" sz="1400" dirty="0">
              <a:latin typeface="+mj-lt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472522" y="3014612"/>
            <a:ext cx="32040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62626"/>
                </a:solidFill>
              </a:rPr>
              <a:t>Выплата финансирования по уступленным поставкам (поставщик списывает ДЗ с баланса)</a:t>
            </a:r>
            <a:endParaRPr lang="ru-RU" sz="1400" dirty="0">
              <a:latin typeface="+mj-lt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919861" y="1763298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ru-RU" dirty="0" smtClean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</a:rPr>
              <a:t>1</a:t>
            </a:r>
            <a:endParaRPr lang="ru-RU" dirty="0">
              <a:ln>
                <a:solidFill>
                  <a:srgbClr val="4E6470"/>
                </a:solidFill>
              </a:ln>
              <a:solidFill>
                <a:srgbClr val="4E6470"/>
              </a:solidFill>
            </a:endParaRPr>
          </a:p>
        </p:txBody>
      </p:sp>
      <p:sp>
        <p:nvSpPr>
          <p:cNvPr id="50" name="Овал 49"/>
          <p:cNvSpPr/>
          <p:nvPr/>
        </p:nvSpPr>
        <p:spPr>
          <a:xfrm>
            <a:off x="809245" y="3848073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/>
        </p:nvSpPr>
        <p:spPr>
          <a:xfrm>
            <a:off x="1472522" y="3969717"/>
            <a:ext cx="320406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262626"/>
                </a:solidFill>
              </a:rPr>
              <a:t>Оплата поставки покупателем</a:t>
            </a:r>
            <a:endParaRPr lang="ru-RU" sz="1400" dirty="0">
              <a:latin typeface="+mj-lt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929000" y="2481868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ru-RU" dirty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</a:rPr>
              <a:t>2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29000" y="3205821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ru-RU" dirty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</a:rPr>
              <a:t>3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919861" y="3938940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ru-RU" dirty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</a:rPr>
              <a:t>4</a:t>
            </a:r>
          </a:p>
        </p:txBody>
      </p:sp>
      <p:sp>
        <p:nvSpPr>
          <p:cNvPr id="56" name="Овал 55"/>
          <p:cNvSpPr/>
          <p:nvPr/>
        </p:nvSpPr>
        <p:spPr>
          <a:xfrm>
            <a:off x="819089" y="4573570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TextBox 57"/>
          <p:cNvSpPr txBox="1"/>
          <p:nvPr/>
        </p:nvSpPr>
        <p:spPr>
          <a:xfrm>
            <a:off x="947656" y="4664437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ru-RU" dirty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</a:rPr>
              <a:t>5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485657" y="4574461"/>
            <a:ext cx="32040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262626"/>
                </a:solidFill>
              </a:rPr>
              <a:t>Перевод остаточного платежа (в случае его наличия)</a:t>
            </a:r>
            <a:endParaRPr lang="ru-RU" sz="1400" dirty="0"/>
          </a:p>
        </p:txBody>
      </p:sp>
      <p:cxnSp>
        <p:nvCxnSpPr>
          <p:cNvPr id="62" name="Соединительная линия уступом 61"/>
          <p:cNvCxnSpPr/>
          <p:nvPr/>
        </p:nvCxnSpPr>
        <p:spPr>
          <a:xfrm rot="16200000" flipV="1">
            <a:off x="6562606" y="2869080"/>
            <a:ext cx="1299037" cy="1224136"/>
          </a:xfrm>
          <a:prstGeom prst="bentConnector3">
            <a:avLst>
              <a:gd name="adj1" fmla="val 6747"/>
            </a:avLst>
          </a:prstGeom>
          <a:ln w="19050">
            <a:solidFill>
              <a:srgbClr val="20A1BC"/>
            </a:solidFill>
            <a:tailEnd type="triangl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6592533" y="3681327"/>
            <a:ext cx="349524" cy="369332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ru-RU" dirty="0">
                <a:ln>
                  <a:solidFill>
                    <a:srgbClr val="4E6470"/>
                  </a:solidFill>
                </a:ln>
                <a:solidFill>
                  <a:srgbClr val="4E6470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854892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уга 2"/>
          <p:cNvSpPr/>
          <p:nvPr/>
        </p:nvSpPr>
        <p:spPr>
          <a:xfrm rot="2264829">
            <a:off x="-3243230" y="4026873"/>
            <a:ext cx="5112568" cy="5112568"/>
          </a:xfrm>
          <a:prstGeom prst="arc">
            <a:avLst>
              <a:gd name="adj1" fmla="val 14858109"/>
              <a:gd name="adj2" fmla="val 19736613"/>
            </a:avLst>
          </a:prstGeom>
          <a:ln>
            <a:solidFill>
              <a:srgbClr val="D02D2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Рисунок 5" descr="MTSBank_rus-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3352" y="5805264"/>
            <a:ext cx="1362020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436439" y="110465"/>
            <a:ext cx="9748292" cy="1038632"/>
          </a:xfrm>
          <a:prstGeom prst="rect">
            <a:avLst/>
          </a:prstGeom>
        </p:spPr>
        <p:txBody>
          <a:bodyPr lIns="108000" tIns="36000" rIns="108000" bIns="72000" anchor="ctr" anchorCtr="0"/>
          <a:lstStyle>
            <a:defPPr>
              <a:defRPr lang="ru-RU"/>
            </a:defPPr>
            <a:lvl1pPr algn="r" eaLnBrk="1" hangingPunct="1">
              <a:defRPr sz="3600" b="1" baseline="0">
                <a:latin typeface="Futura New bold"/>
                <a:ea typeface="+mj-ea"/>
                <a:cs typeface="Arial" pitchFamily="34" charset="0"/>
              </a:defRPr>
            </a:lvl1pPr>
            <a:lvl2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2pPr>
            <a:lvl3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3pPr>
            <a:lvl4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4pPr>
            <a:lvl5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Это удобно и выгодно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384733" y="2086383"/>
            <a:ext cx="808989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noProof="0" dirty="0" smtClean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ле отгрузки продукции Вы получаете денежные средства сразу, без ожидания поступления платежа по контракту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471342" y="1071472"/>
            <a:ext cx="808989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звивайте бизнес за счет роста своих оборотов: отгружайте с отсрочкой, получайте финансирование. Его можно использовать для закупок новых товаров или сырья для производства. Осуществляйте новые отгрузки. Потенциал роста зависит только от спроса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729551" y="2882181"/>
            <a:ext cx="808989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езопасно выходите на новые рынки сбыта, расширяйте клиентскую базу, поддерживайте лояльность своих клиентов за счет предоставления конкурентных условий работы по отсрочке, при этом не отвлекая из оборота собственные средства. Используя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0" u="none" strike="noStrike" kern="1200" cap="none" spc="0" normalizeH="0" noProof="0" dirty="0" err="1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езрегрессную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хему В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ы защищены от риска неплатежей покупателей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519210" y="5799064"/>
            <a:ext cx="706549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лучая факторинговое финансирование у Вас появляется возможность более ранней оплаты своим Поставщикам и получения от них скидок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267274" y="4798811"/>
            <a:ext cx="808989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дрение факторинга в расчеты с дебиторами стабилизирует денежные потоки компании, а также обеспечивает наличие достаточного количества оборотных средств для увеличения объемов производства и объемов закупок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2586060" y="4874339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10543911" y="3881389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1880499" y="2967782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10806100" y="1980572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715873" y="1120923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020129" y="1980572"/>
            <a:ext cx="500984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5044977" y="2705599"/>
            <a:ext cx="500984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3267274" y="3835266"/>
            <a:ext cx="500984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5044977" y="4649815"/>
            <a:ext cx="500984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4" name="Овал 23"/>
          <p:cNvSpPr/>
          <p:nvPr/>
        </p:nvSpPr>
        <p:spPr>
          <a:xfrm>
            <a:off x="9694859" y="5773772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112068" y="3873585"/>
            <a:ext cx="721903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акже Вы улучшите качество финансовой отчетности своей компании. За счет сокращения дебиторской задолженности улучшается структура баланса и ключевые финансовые показатели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9324655" y="454243"/>
            <a:ext cx="1460336" cy="4160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1600" b="1" dirty="0" smtClean="0">
                <a:solidFill>
                  <a:srgbClr val="C00000"/>
                </a:solidFill>
              </a:rPr>
              <a:t>ФАКТОРИНГ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9408368" y="884584"/>
            <a:ext cx="2783632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3647728" y="5661248"/>
            <a:ext cx="5009846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890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уга 2"/>
          <p:cNvSpPr/>
          <p:nvPr/>
        </p:nvSpPr>
        <p:spPr>
          <a:xfrm rot="6581296">
            <a:off x="-3057320" y="-2411951"/>
            <a:ext cx="5112568" cy="5112568"/>
          </a:xfrm>
          <a:prstGeom prst="arc">
            <a:avLst>
              <a:gd name="adj1" fmla="val 14806373"/>
              <a:gd name="adj2" fmla="val 19736613"/>
            </a:avLst>
          </a:prstGeom>
          <a:ln>
            <a:solidFill>
              <a:srgbClr val="D02D2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Рисунок 5" descr="MTSBank_rus-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5360" y="764704"/>
            <a:ext cx="1362020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9000540" y="-113903"/>
            <a:ext cx="4392488" cy="1038632"/>
          </a:xfrm>
          <a:prstGeom prst="rect">
            <a:avLst/>
          </a:prstGeom>
        </p:spPr>
        <p:txBody>
          <a:bodyPr lIns="108000" tIns="36000" rIns="108000" bIns="72000" anchor="ctr" anchorCtr="0"/>
          <a:lstStyle>
            <a:defPPr>
              <a:defRPr lang="ru-RU"/>
            </a:defPPr>
            <a:lvl1pPr algn="r" eaLnBrk="1" hangingPunct="1">
              <a:defRPr sz="3600" b="1" baseline="0">
                <a:latin typeface="Futura New bold"/>
                <a:ea typeface="+mj-ea"/>
                <a:cs typeface="Arial" pitchFamily="34" charset="0"/>
              </a:defRPr>
            </a:lvl1pPr>
            <a:lvl2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2pPr>
            <a:lvl3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3pPr>
            <a:lvl4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4pPr>
            <a:lvl5pPr algn="ctr" eaLnBrk="1" hangingPunct="1"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A8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2800" noProof="0" dirty="0" smtClean="0">
                <a:solidFill>
                  <a:srgbClr val="262626"/>
                </a:solidFill>
                <a:latin typeface="Arial"/>
              </a:rPr>
              <a:t>Преимущества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877602" y="1005465"/>
            <a:ext cx="1629549" cy="369332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ФАКТОРИНГ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8" name="Двойные круглые скобки 7"/>
          <p:cNvSpPr/>
          <p:nvPr/>
        </p:nvSpPr>
        <p:spPr>
          <a:xfrm>
            <a:off x="8892862" y="1017164"/>
            <a:ext cx="1648849" cy="369332"/>
          </a:xfrm>
          <a:prstGeom prst="bracketPair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535059" y="1654038"/>
            <a:ext cx="6006653" cy="352731"/>
          </a:xfrm>
          <a:prstGeom prst="roundRect">
            <a:avLst/>
          </a:prstGeom>
          <a:noFill/>
          <a:ln w="2540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требует залог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756845" y="2285959"/>
            <a:ext cx="6784867" cy="357585"/>
          </a:xfrm>
          <a:prstGeom prst="roundRect">
            <a:avLst/>
          </a:prstGeom>
          <a:noFill/>
          <a:ln w="2540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гашается из средств, выплачиваемых дебитором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238915" y="2922733"/>
            <a:ext cx="7302797" cy="428225"/>
          </a:xfrm>
          <a:prstGeom prst="roundRect">
            <a:avLst/>
          </a:prstGeom>
          <a:noFill/>
          <a:ln w="2540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плачивается на срок фактической отсрочки платеж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806867" y="3618500"/>
            <a:ext cx="7734845" cy="667134"/>
          </a:xfrm>
          <a:prstGeom prst="roundRect">
            <a:avLst/>
          </a:prstGeom>
          <a:noFill/>
          <a:ln w="2540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плачивается при предоставлен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кументов, подтверждающих действительность денежного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ребования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2374818" y="4553175"/>
            <a:ext cx="8166893" cy="527440"/>
          </a:xfrm>
          <a:prstGeom prst="roundRect">
            <a:avLst/>
          </a:prstGeom>
          <a:noFill/>
          <a:ln w="2540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имит финансирования может увеличиваться пропорционально росту объема продаж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870763" y="5348156"/>
            <a:ext cx="8670949" cy="527440"/>
          </a:xfrm>
          <a:prstGeom prst="roundRect">
            <a:avLst/>
          </a:prstGeom>
          <a:noFill/>
          <a:ln w="25400">
            <a:solidFill>
              <a:srgbClr val="E306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провождается дополнительными услугами (управление дебиторской задолженностью, установление лимитов и т.д.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11280576" y="1604378"/>
            <a:ext cx="0" cy="4271218"/>
          </a:xfrm>
          <a:prstGeom prst="line">
            <a:avLst/>
          </a:prstGeom>
          <a:ln w="22225">
            <a:solidFill>
              <a:srgbClr val="0093B2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Овал 30"/>
          <p:cNvSpPr/>
          <p:nvPr/>
        </p:nvSpPr>
        <p:spPr>
          <a:xfrm>
            <a:off x="1950075" y="1270912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Овал 31"/>
          <p:cNvSpPr/>
          <p:nvPr/>
        </p:nvSpPr>
        <p:spPr>
          <a:xfrm>
            <a:off x="293835" y="2755688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1283962" y="2120914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Овал 33"/>
          <p:cNvSpPr/>
          <p:nvPr/>
        </p:nvSpPr>
        <p:spPr>
          <a:xfrm>
            <a:off x="2427124" y="281670"/>
            <a:ext cx="551067" cy="551067"/>
          </a:xfrm>
          <a:prstGeom prst="ellipse">
            <a:avLst/>
          </a:prstGeom>
          <a:noFill/>
          <a:ln>
            <a:solidFill>
              <a:srgbClr val="D02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-99920" y="6453336"/>
            <a:ext cx="5218788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2216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MTS BANK">
  <a:themeElements>
    <a:clrScheme name="МТС Банк">
      <a:dk1>
        <a:srgbClr val="262626"/>
      </a:dk1>
      <a:lt1>
        <a:srgbClr val="FFFFFF"/>
      </a:lt1>
      <a:dk2>
        <a:srgbClr val="DBEEF3"/>
      </a:dk2>
      <a:lt2>
        <a:srgbClr val="595959"/>
      </a:lt2>
      <a:accent1>
        <a:srgbClr val="4BACC6"/>
      </a:accent1>
      <a:accent2>
        <a:srgbClr val="C00000"/>
      </a:accent2>
      <a:accent3>
        <a:srgbClr val="6F7C83"/>
      </a:accent3>
      <a:accent4>
        <a:srgbClr val="BFBFBF"/>
      </a:accent4>
      <a:accent5>
        <a:srgbClr val="3F3F3F"/>
      </a:accent5>
      <a:accent6>
        <a:srgbClr val="AF0000"/>
      </a:accent6>
      <a:hlink>
        <a:srgbClr val="7F7F7F"/>
      </a:hlink>
      <a:folHlink>
        <a:srgbClr val="EEECE1"/>
      </a:folHlink>
    </a:clrScheme>
    <a:fontScheme name="МТС Банк 02.04.201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MTS BANK">
  <a:themeElements>
    <a:clrScheme name="МТС Банк август 2012">
      <a:dk1>
        <a:srgbClr val="262626"/>
      </a:dk1>
      <a:lt1>
        <a:srgbClr val="FFFFFF"/>
      </a:lt1>
      <a:dk2>
        <a:srgbClr val="DBEEF3"/>
      </a:dk2>
      <a:lt2>
        <a:srgbClr val="595959"/>
      </a:lt2>
      <a:accent1>
        <a:srgbClr val="4BACC6"/>
      </a:accent1>
      <a:accent2>
        <a:srgbClr val="C00000"/>
      </a:accent2>
      <a:accent3>
        <a:srgbClr val="6F7C83"/>
      </a:accent3>
      <a:accent4>
        <a:srgbClr val="BFBFBF"/>
      </a:accent4>
      <a:accent5>
        <a:srgbClr val="3F3F3F"/>
      </a:accent5>
      <a:accent6>
        <a:srgbClr val="AF0000"/>
      </a:accent6>
      <a:hlink>
        <a:srgbClr val="7F7F7F"/>
      </a:hlink>
      <a:folHlink>
        <a:srgbClr val="EEECE1"/>
      </a:folHlink>
    </a:clrScheme>
    <a:fontScheme name="МТС Банк 02.04.201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B6071026F52BC54AB4FF9E223D24A22B" ma:contentTypeVersion="0" ma:contentTypeDescription="Создание документа." ma:contentTypeScope="" ma:versionID="770ca2d9b5cdbe04fc31da8a8484f81e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9d58f4857a619b7c345529988bca39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337E60-711A-46F7-9BC0-F6BA9129D4FD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4AD372F4-B98C-4AA5-A806-45CB2F48CC6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1259CBD-6CDF-4D63-83ED-7C393207C7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074</TotalTime>
  <Words>1081</Words>
  <Application>Microsoft Office PowerPoint</Application>
  <PresentationFormat>Широкоэкранный</PresentationFormat>
  <Paragraphs>212</Paragraphs>
  <Slides>1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6" baseType="lpstr">
      <vt:lpstr>.AppleSystemUIFont</vt:lpstr>
      <vt:lpstr>Arial</vt:lpstr>
      <vt:lpstr>Calibri</vt:lpstr>
      <vt:lpstr>DIN Alternate</vt:lpstr>
      <vt:lpstr>Futura Medium</vt:lpstr>
      <vt:lpstr>Futura New bold</vt:lpstr>
      <vt:lpstr>Futura PT</vt:lpstr>
      <vt:lpstr>Futura PT Book</vt:lpstr>
      <vt:lpstr>Wingdings</vt:lpstr>
      <vt:lpstr>Тема MTS BANK</vt:lpstr>
      <vt:lpstr>1_Тема MTS BANK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mb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ект выхода МТС Банка на рынок Республики Беларусь</dc:title>
  <dc:creator>aluzina</dc:creator>
  <cp:lastModifiedBy>Бородин Сергей Викторович</cp:lastModifiedBy>
  <cp:revision>1905</cp:revision>
  <cp:lastPrinted>2018-06-18T10:21:48Z</cp:lastPrinted>
  <dcterms:created xsi:type="dcterms:W3CDTF">2012-08-13T05:09:40Z</dcterms:created>
  <dcterms:modified xsi:type="dcterms:W3CDTF">2019-02-26T13:3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6071026F52BC54AB4FF9E223D24A22B</vt:lpwstr>
  </property>
</Properties>
</file>